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655" r:id="rId5"/>
  </p:sldMasterIdLst>
  <p:notesMasterIdLst>
    <p:notesMasterId r:id="rId25"/>
  </p:notesMasterIdLst>
  <p:handoutMasterIdLst>
    <p:handoutMasterId r:id="rId26"/>
  </p:handoutMasterIdLst>
  <p:sldIdLst>
    <p:sldId id="1720" r:id="rId6"/>
    <p:sldId id="447" r:id="rId7"/>
    <p:sldId id="542" r:id="rId8"/>
    <p:sldId id="4336" r:id="rId9"/>
    <p:sldId id="1660" r:id="rId10"/>
    <p:sldId id="4319" r:id="rId11"/>
    <p:sldId id="4320" r:id="rId12"/>
    <p:sldId id="4321" r:id="rId13"/>
    <p:sldId id="4324" r:id="rId14"/>
    <p:sldId id="4323" r:id="rId15"/>
    <p:sldId id="4327" r:id="rId16"/>
    <p:sldId id="4333" r:id="rId17"/>
    <p:sldId id="4334" r:id="rId18"/>
    <p:sldId id="4326" r:id="rId19"/>
    <p:sldId id="4328" r:id="rId20"/>
    <p:sldId id="261" r:id="rId21"/>
    <p:sldId id="263" r:id="rId22"/>
    <p:sldId id="4330" r:id="rId23"/>
    <p:sldId id="4329" r:id="rId24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crosoft Ready Template" id="{A073DAE3-B461-442F-A3D3-6642BD875E45}">
          <p14:sldIdLst>
            <p14:sldId id="1720"/>
            <p14:sldId id="447"/>
            <p14:sldId id="542"/>
            <p14:sldId id="4336"/>
            <p14:sldId id="1660"/>
            <p14:sldId id="4319"/>
            <p14:sldId id="4320"/>
            <p14:sldId id="4321"/>
            <p14:sldId id="4324"/>
            <p14:sldId id="4323"/>
            <p14:sldId id="4327"/>
            <p14:sldId id="4333"/>
            <p14:sldId id="4334"/>
            <p14:sldId id="4326"/>
            <p14:sldId id="4328"/>
            <p14:sldId id="261"/>
            <p14:sldId id="263"/>
            <p14:sldId id="4330"/>
            <p14:sldId id="432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0000"/>
    <a:srgbClr val="FFFFFF"/>
    <a:srgbClr val="0D0D0D"/>
    <a:srgbClr val="232323"/>
    <a:srgbClr val="1A1A1A"/>
    <a:srgbClr val="0078D4"/>
    <a:srgbClr val="107C10"/>
    <a:srgbClr val="EAEAEA"/>
    <a:srgbClr val="004B50"/>
    <a:srgbClr val="008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60" autoAdjust="0"/>
    <p:restoredTop sz="66549" autoAdjust="0"/>
  </p:normalViewPr>
  <p:slideViewPr>
    <p:cSldViewPr snapToGrid="0">
      <p:cViewPr varScale="1">
        <p:scale>
          <a:sx n="50" d="100"/>
          <a:sy n="50" d="100"/>
        </p:scale>
        <p:origin x="1068" y="54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92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5244655631943893E-2"/>
          <c:y val="3.3593910054416386E-2"/>
          <c:w val="0.94160317151650053"/>
          <c:h val="0.91771736618631528"/>
        </c:manualLayout>
      </c:layout>
      <c:surface3DChart>
        <c:wireframe val="0"/>
        <c:ser>
          <c:idx val="0"/>
          <c:order val="0"/>
          <c:tx>
            <c:strRef>
              <c:f>Sheet1!$B$1</c:f>
              <c:strCache>
                <c:ptCount val="1"/>
                <c:pt idx="0">
                  <c:v>W12</c:v>
                </c:pt>
              </c:strCache>
            </c:strRef>
          </c:tx>
          <c:spPr>
            <a:solidFill>
              <a:schemeClr val="accent3">
                <a:shade val="65000"/>
              </a:schemeClr>
            </a:solidFill>
            <a:ln/>
            <a:effectLst/>
            <a:sp3d/>
          </c:spPr>
          <c:cat>
            <c:numRef>
              <c:f>Sheet1!$A$2:$A$5</c:f>
              <c:numCache>
                <c:formatCode>General</c:formatCode>
                <c:ptCount val="4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2</c:v>
                </c:pt>
                <c:pt idx="1">
                  <c:v>0.3</c:v>
                </c:pt>
                <c:pt idx="2">
                  <c:v>0.5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CD-4D2D-A6B5-A4D488CD37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2</c:v>
                </c:pt>
              </c:strCache>
            </c:strRef>
          </c:tx>
          <c:spPr>
            <a:solidFill>
              <a:schemeClr val="accent3"/>
            </a:solidFill>
            <a:ln/>
            <a:effectLst/>
            <a:sp3d/>
          </c:spPr>
          <c:cat>
            <c:numRef>
              <c:f>Sheet1!$A$2:$A$5</c:f>
              <c:numCache>
                <c:formatCode>General</c:formatCode>
                <c:ptCount val="4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0.4</c:v>
                </c:pt>
                <c:pt idx="1">
                  <c:v>0.6</c:v>
                </c:pt>
                <c:pt idx="2">
                  <c:v>0.2</c:v>
                </c:pt>
                <c:pt idx="3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CD-4D2D-A6B5-A4D488CD37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chemeClr val="accent3">
                <a:tint val="65000"/>
              </a:schemeClr>
            </a:solidFill>
            <a:ln/>
            <a:effectLst/>
            <a:sp3d/>
          </c:spPr>
          <c:cat>
            <c:numRef>
              <c:f>Sheet1!$A$2:$A$5</c:f>
              <c:numCache>
                <c:formatCode>General</c:formatCode>
                <c:ptCount val="4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0.6</c:v>
                </c:pt>
                <c:pt idx="1">
                  <c:v>0.7</c:v>
                </c:pt>
                <c:pt idx="2">
                  <c:v>0.5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CD-4D2D-A6B5-A4D488CD37A2}"/>
            </c:ext>
          </c:extLst>
        </c:ser>
        <c:bandFmts>
          <c:bandFmt>
            <c:idx val="0"/>
            <c:spPr>
              <a:solidFill>
                <a:schemeClr val="accent3">
                  <a:shade val="42000"/>
                </a:schemeClr>
              </a:solidFill>
              <a:ln/>
              <a:effectLst/>
              <a:sp3d/>
            </c:spPr>
          </c:bandFmt>
          <c:bandFmt>
            <c:idx val="1"/>
            <c:spPr>
              <a:solidFill>
                <a:schemeClr val="accent3">
                  <a:shade val="55000"/>
                </a:schemeClr>
              </a:solidFill>
              <a:ln/>
              <a:effectLst/>
              <a:sp3d/>
            </c:spPr>
          </c:bandFmt>
          <c:bandFmt>
            <c:idx val="2"/>
            <c:spPr>
              <a:solidFill>
                <a:schemeClr val="accent3">
                  <a:shade val="68000"/>
                </a:schemeClr>
              </a:solidFill>
              <a:ln/>
              <a:effectLst/>
              <a:sp3d/>
            </c:spPr>
          </c:bandFmt>
          <c:bandFmt>
            <c:idx val="3"/>
            <c:spPr>
              <a:solidFill>
                <a:schemeClr val="accent3">
                  <a:shade val="80000"/>
                </a:schemeClr>
              </a:solidFill>
              <a:ln/>
              <a:effectLst/>
              <a:sp3d/>
            </c:spPr>
          </c:bandFmt>
          <c:bandFmt>
            <c:idx val="4"/>
            <c:spPr>
              <a:solidFill>
                <a:schemeClr val="accent3">
                  <a:shade val="93000"/>
                </a:schemeClr>
              </a:solidFill>
              <a:ln/>
              <a:effectLst/>
              <a:sp3d/>
            </c:spPr>
          </c:bandFmt>
          <c:bandFmt>
            <c:idx val="5"/>
            <c:spPr>
              <a:solidFill>
                <a:schemeClr val="accent3">
                  <a:tint val="94000"/>
                </a:schemeClr>
              </a:solidFill>
              <a:ln/>
              <a:effectLst/>
              <a:sp3d/>
            </c:spPr>
          </c:bandFmt>
          <c:bandFmt>
            <c:idx val="6"/>
            <c:spPr>
              <a:solidFill>
                <a:schemeClr val="accent3">
                  <a:tint val="81000"/>
                </a:schemeClr>
              </a:solidFill>
              <a:ln/>
              <a:effectLst/>
              <a:sp3d/>
            </c:spPr>
          </c:bandFmt>
          <c:bandFmt>
            <c:idx val="7"/>
            <c:spPr>
              <a:solidFill>
                <a:schemeClr val="accent3">
                  <a:tint val="69000"/>
                </a:schemeClr>
              </a:solidFill>
              <a:ln/>
              <a:effectLst/>
              <a:sp3d/>
            </c:spPr>
          </c:bandFmt>
          <c:bandFmt>
            <c:idx val="8"/>
            <c:spPr>
              <a:solidFill>
                <a:schemeClr val="accent3">
                  <a:tint val="56000"/>
                </a:schemeClr>
              </a:solidFill>
              <a:ln/>
              <a:effectLst/>
              <a:sp3d/>
            </c:spPr>
          </c:bandFmt>
          <c:bandFmt>
            <c:idx val="9"/>
            <c:spPr>
              <a:solidFill>
                <a:schemeClr val="accent3">
                  <a:tint val="43000"/>
                </a:schemeClr>
              </a:solidFill>
              <a:ln/>
              <a:effectLst/>
              <a:sp3d/>
            </c:spPr>
          </c:bandFmt>
          <c:bandFmt>
            <c:idx val="10"/>
            <c:spPr>
              <a:solidFill>
                <a:schemeClr val="accent3">
                  <a:tint val="30000"/>
                </a:schemeClr>
              </a:solidFill>
              <a:ln/>
              <a:effectLst/>
              <a:sp3d/>
            </c:spPr>
          </c:bandFmt>
          <c:bandFmt>
            <c:idx val="11"/>
            <c:spPr>
              <a:solidFill>
                <a:schemeClr val="accent3">
                  <a:tint val="18000"/>
                </a:schemeClr>
              </a:solidFill>
              <a:ln/>
              <a:effectLst/>
              <a:sp3d/>
            </c:spPr>
          </c:bandFmt>
          <c:bandFmt>
            <c:idx val="12"/>
            <c:spPr>
              <a:solidFill>
                <a:schemeClr val="accent3">
                  <a:tint val="5000"/>
                </a:schemeClr>
              </a:solidFill>
              <a:ln/>
              <a:effectLst/>
              <a:sp3d/>
            </c:spPr>
          </c:bandFmt>
          <c:bandFmt>
            <c:idx val="13"/>
            <c:spPr>
              <a:solidFill>
                <a:schemeClr val="accent3">
                  <a:tint val="92000"/>
                </a:schemeClr>
              </a:solidFill>
              <a:ln/>
              <a:effectLst/>
              <a:sp3d/>
            </c:spPr>
          </c:bandFmt>
          <c:bandFmt>
            <c:idx val="14"/>
            <c:spPr>
              <a:solidFill>
                <a:schemeClr val="accent3">
                  <a:tint val="80000"/>
                </a:schemeClr>
              </a:solidFill>
              <a:ln/>
              <a:effectLst/>
              <a:sp3d/>
            </c:spPr>
          </c:bandFmt>
        </c:bandFmts>
        <c:axId val="761157848"/>
        <c:axId val="761173592"/>
        <c:axId val="760727664"/>
      </c:surface3DChart>
      <c:catAx>
        <c:axId val="761157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173592"/>
        <c:crosses val="autoZero"/>
        <c:auto val="1"/>
        <c:lblAlgn val="ctr"/>
        <c:lblOffset val="100"/>
        <c:noMultiLvlLbl val="0"/>
      </c:catAx>
      <c:valAx>
        <c:axId val="76117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157848"/>
        <c:crosses val="autoZero"/>
        <c:crossBetween val="midCat"/>
      </c:valAx>
      <c:serAx>
        <c:axId val="76072766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173592"/>
        <c:crosses val="autoZero"/>
      </c:ser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4/24/2019 4:43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072DC8-D49D-432C-9D46-A7718B5F5490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4/2019 4:45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61069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loss can be graphed and the weight modified with calculus</a:t>
            </a:r>
          </a:p>
          <a:p>
            <a:r>
              <a:rPr lang="en-US" dirty="0"/>
              <a:t>this is the “gradient”.  </a:t>
            </a:r>
          </a:p>
          <a:p>
            <a:r>
              <a:rPr lang="en-US" dirty="0"/>
              <a:t>which way do I adjust the weight so the loss goes dow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126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a RGB example</a:t>
            </a:r>
          </a:p>
          <a:p>
            <a:r>
              <a:rPr lang="en-US" dirty="0"/>
              <a:t>in which direction do I adjust params so the loss goes dow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8952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feed that back into the network and </a:t>
            </a:r>
            <a:r>
              <a:rPr lang="en-US" dirty="0" err="1"/>
              <a:t>recalc</a:t>
            </a:r>
            <a:endParaRPr lang="en-US" dirty="0"/>
          </a:p>
          <a:p>
            <a:r>
              <a:rPr lang="en-US" dirty="0"/>
              <a:t>new weights and biases should get you closer to the truth</a:t>
            </a:r>
          </a:p>
          <a:p>
            <a:r>
              <a:rPr lang="en-US" dirty="0"/>
              <a:t>epoch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4190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lculate overall loss.</a:t>
            </a:r>
          </a:p>
          <a:p>
            <a:r>
              <a:rPr lang="en-US" dirty="0"/>
              <a:t>now take the holdout set and validat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7077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</a:t>
            </a:r>
            <a:r>
              <a:rPr lang="en-US" dirty="0"/>
              <a:t> lied</a:t>
            </a:r>
          </a:p>
          <a:p>
            <a:r>
              <a:rPr lang="en-US" dirty="0"/>
              <a:t>in reality we don’t send one iris at a time</a:t>
            </a:r>
          </a:p>
          <a:p>
            <a:r>
              <a:rPr lang="en-US" dirty="0"/>
              <a:t>mini-batch</a:t>
            </a:r>
          </a:p>
          <a:p>
            <a:r>
              <a:rPr lang="en-US" dirty="0"/>
              <a:t>we arrange the values as a vector, then as a matrix</a:t>
            </a:r>
          </a:p>
          <a:p>
            <a:r>
              <a:rPr lang="en-US" dirty="0"/>
              <a:t>then w and b as vectors</a:t>
            </a:r>
          </a:p>
          <a:p>
            <a:r>
              <a:rPr lang="en-US" dirty="0"/>
              <a:t>now we can do linear algebra</a:t>
            </a:r>
          </a:p>
          <a:p>
            <a:r>
              <a:rPr lang="en-US" dirty="0"/>
              <a:t>this is why we use GPUs.  graphical games are just matrices and vectors</a:t>
            </a:r>
          </a:p>
          <a:p>
            <a:r>
              <a:rPr lang="en-US" dirty="0"/>
              <a:t>this is a neural network or a perceptr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9337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is this applied to images?  </a:t>
            </a:r>
          </a:p>
          <a:p>
            <a:r>
              <a:rPr lang="en-US" dirty="0"/>
              <a:t>array of RGBs</a:t>
            </a:r>
          </a:p>
          <a:p>
            <a:r>
              <a:rPr lang="en-US" dirty="0"/>
              <a:t>this can be fed into a perceptron, but not great</a:t>
            </a:r>
          </a:p>
          <a:p>
            <a:r>
              <a:rPr lang="en-US" dirty="0"/>
              <a:t>much of the data isn’t valuable</a:t>
            </a:r>
          </a:p>
          <a:p>
            <a:r>
              <a:rPr lang="en-US" dirty="0"/>
              <a:t>it’s much better to extract the features myself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4675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the numbers that are valuable</a:t>
            </a:r>
          </a:p>
          <a:p>
            <a:r>
              <a:rPr lang="en-US" dirty="0"/>
              <a:t>pixel intensity (b/w image)</a:t>
            </a:r>
          </a:p>
          <a:p>
            <a:r>
              <a:rPr lang="en-US" dirty="0"/>
              <a:t>create a filter (smaller than what I’m working with), assigned randomly</a:t>
            </a:r>
          </a:p>
          <a:p>
            <a:r>
              <a:rPr lang="en-US" dirty="0"/>
              <a:t>generate a feature map</a:t>
            </a:r>
          </a:p>
          <a:p>
            <a:r>
              <a:rPr lang="en-US" dirty="0"/>
              <a:t>do multiplication, then add</a:t>
            </a:r>
          </a:p>
          <a:p>
            <a:r>
              <a:rPr lang="en-US" dirty="0"/>
              <a:t>“convolve” the image</a:t>
            </a:r>
          </a:p>
          <a:p>
            <a:r>
              <a:rPr lang="en-US" dirty="0"/>
              <a:t>but we still have the same number of value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5816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tput is something that looks like this</a:t>
            </a:r>
          </a:p>
          <a:p>
            <a:r>
              <a:rPr lang="en-US" dirty="0"/>
              <a:t>take the max value of each square and convolve</a:t>
            </a:r>
          </a:p>
          <a:p>
            <a:r>
              <a:rPr lang="en-US" dirty="0"/>
              <a:t>this exaggerates the feature</a:t>
            </a:r>
          </a:p>
          <a:p>
            <a:r>
              <a:rPr lang="en-US" dirty="0"/>
              <a:t>we have summarized a larger matrix to a smaller on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4589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ction</a:t>
            </a:r>
          </a:p>
          <a:p>
            <a:r>
              <a:rPr lang="en-US" dirty="0"/>
              <a:t>2 different filters</a:t>
            </a:r>
          </a:p>
          <a:p>
            <a:r>
              <a:rPr lang="en-US" dirty="0"/>
              <a:t>then </a:t>
            </a:r>
            <a:r>
              <a:rPr lang="en-US" dirty="0" err="1"/>
              <a:t>downsample</a:t>
            </a:r>
            <a:endParaRPr lang="en-US" dirty="0"/>
          </a:p>
          <a:p>
            <a:r>
              <a:rPr lang="en-US" dirty="0"/>
              <a:t>we may choose to randomly drop things to avoid overfitting</a:t>
            </a:r>
          </a:p>
          <a:p>
            <a:r>
              <a:rPr lang="en-US" dirty="0"/>
              <a:t>features are outputted and flattened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6718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ce we have a model we save it</a:t>
            </a:r>
          </a:p>
          <a:p>
            <a:r>
              <a:rPr lang="en-US" dirty="0"/>
              <a:t>sometimes save the weights separately</a:t>
            </a:r>
          </a:p>
          <a:p>
            <a:r>
              <a:rPr lang="en-US" dirty="0"/>
              <a:t>put it in a repo/</a:t>
            </a:r>
            <a:r>
              <a:rPr lang="en-US" dirty="0" err="1"/>
              <a:t>amls</a:t>
            </a:r>
            <a:endParaRPr lang="en-US" dirty="0"/>
          </a:p>
          <a:p>
            <a:r>
              <a:rPr lang="en-US" dirty="0"/>
              <a:t>define a compute image to use that model</a:t>
            </a:r>
          </a:p>
          <a:p>
            <a:r>
              <a:rPr lang="en-US" dirty="0"/>
              <a:t>service uses the container </a:t>
            </a:r>
            <a:r>
              <a:rPr lang="en-US"/>
              <a:t>to inference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7033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617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effectLst/>
              </a:rPr>
              <a:t>Process:</a:t>
            </a:r>
            <a:r>
              <a:rPr lang="en-US" dirty="0">
                <a:effectLst/>
              </a:rPr>
              <a:t> Refined through a decade of delivery, evaluation and improvement, the </a:t>
            </a:r>
            <a:r>
              <a:rPr lang="en-US" dirty="0" err="1">
                <a:effectLst/>
              </a:rPr>
              <a:t>MTC’s</a:t>
            </a:r>
            <a:r>
              <a:rPr lang="en-US" dirty="0">
                <a:effectLst/>
              </a:rPr>
              <a:t> engagement offerings and supporting systems drive decision enablement and actionable next steps for the customer.</a:t>
            </a:r>
          </a:p>
          <a:p>
            <a:endParaRPr lang="en-US" sz="700" b="1" i="0" kern="1200" dirty="0">
              <a:solidFill>
                <a:schemeClr val="tx1"/>
              </a:solidFill>
              <a:effectLst/>
              <a:latin typeface="Segoe UI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r>
              <a:rPr lang="en-US" sz="700" b="1" i="0" kern="1200" dirty="0">
                <a:solidFill>
                  <a:schemeClr val="tx1"/>
                </a:solidFill>
                <a:effectLst/>
                <a:latin typeface="Segoe UI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Envisioning Experiences</a:t>
            </a:r>
            <a:endParaRPr lang="en-US" sz="700" i="0" kern="1200" dirty="0">
              <a:solidFill>
                <a:schemeClr val="tx1"/>
              </a:solidFill>
              <a:effectLst/>
              <a:latin typeface="Segoe UI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r>
              <a:rPr lang="en-US" sz="700" i="0" kern="1200" dirty="0" err="1">
                <a:solidFill>
                  <a:schemeClr val="tx1"/>
                </a:solidFill>
                <a:effectLst/>
                <a:latin typeface="Segoe UI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MTC</a:t>
            </a:r>
            <a:r>
              <a:rPr lang="en-US" sz="700" i="0" kern="1200" dirty="0">
                <a:solidFill>
                  <a:schemeClr val="tx1"/>
                </a:solidFill>
                <a:effectLst/>
                <a:latin typeface="Segoe UI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 staff will take you through a storyline of business scenarios that map to your business environment. The customized demonstration helps you understand how you can control costs while improving productivity through an optimized IT infrastructure. </a:t>
            </a:r>
          </a:p>
          <a:p>
            <a:endParaRPr lang="en-US" dirty="0">
              <a:solidFill>
                <a:srgbClr val="000000"/>
              </a:solidFill>
              <a:cs typeface="Segoe UI"/>
            </a:endParaRPr>
          </a:p>
          <a:p>
            <a:r>
              <a:rPr lang="en-US" sz="1000" b="1" dirty="0">
                <a:solidFill>
                  <a:srgbClr val="000000"/>
                </a:solidFill>
                <a:cs typeface="Segoe UI"/>
              </a:rPr>
              <a:t>Strategy Briefing</a:t>
            </a:r>
          </a:p>
          <a:p>
            <a:pPr defTabSz="914255">
              <a:spcAft>
                <a:spcPts val="1200"/>
              </a:spcAft>
            </a:pPr>
            <a:r>
              <a:rPr lang="en-US" dirty="0">
                <a:solidFill>
                  <a:srgbClr val="000000"/>
                </a:solidFill>
                <a:cs typeface="Segoe UI"/>
              </a:rPr>
              <a:t>A day long engagement that culminates in a vision for how Microsoft and partner technologies can solve your business challenges.</a:t>
            </a:r>
          </a:p>
          <a:p>
            <a:r>
              <a:rPr lang="en-US" sz="700" baseline="0" dirty="0">
                <a:solidFill>
                  <a:srgbClr val="000000"/>
                </a:solidFill>
                <a:cs typeface="Segoe UI"/>
              </a:rPr>
              <a:t>team to find the right solution to meet your exact business needs. </a:t>
            </a:r>
          </a:p>
          <a:p>
            <a:endParaRPr lang="en-US" sz="700" dirty="0">
              <a:solidFill>
                <a:srgbClr val="000000"/>
              </a:solidFill>
              <a:cs typeface="Segoe UI"/>
            </a:endParaRPr>
          </a:p>
          <a:p>
            <a:r>
              <a:rPr lang="en-US" sz="700" b="1" dirty="0">
                <a:solidFill>
                  <a:srgbClr val="000000"/>
                </a:solidFill>
                <a:cs typeface="Segoe UI"/>
              </a:rPr>
              <a:t>Architecture Design Session</a:t>
            </a:r>
          </a:p>
          <a:p>
            <a:pPr defTabSz="914255">
              <a:spcAft>
                <a:spcPts val="1200"/>
              </a:spcAft>
            </a:pPr>
            <a:r>
              <a:rPr lang="en-US" dirty="0">
                <a:solidFill>
                  <a:srgbClr val="000000"/>
                </a:solidFill>
                <a:cs typeface="Segoe UI"/>
              </a:rPr>
              <a:t>A process to jointly define the architectural vision for a Microsoft-based solution by clarifying the objectives, requirements, and scope. </a:t>
            </a:r>
          </a:p>
          <a:p>
            <a:pPr defTabSz="914255">
              <a:spcAft>
                <a:spcPts val="1200"/>
              </a:spcAft>
            </a:pPr>
            <a:endParaRPr lang="en-US" dirty="0">
              <a:solidFill>
                <a:srgbClr val="000000"/>
              </a:solidFill>
              <a:cs typeface="Segoe UI"/>
            </a:endParaRPr>
          </a:p>
          <a:p>
            <a:pPr>
              <a:spcAft>
                <a:spcPts val="1200"/>
              </a:spcAft>
            </a:pPr>
            <a:r>
              <a:rPr lang="en-US" sz="1000" b="1" dirty="0">
                <a:solidFill>
                  <a:srgbClr val="000000"/>
                </a:solidFill>
                <a:cs typeface="Segoe UI"/>
              </a:rPr>
              <a:t>Immersion Experience</a:t>
            </a:r>
          </a:p>
          <a:p>
            <a:pPr>
              <a:spcAft>
                <a:spcPts val="1200"/>
              </a:spcAft>
            </a:pPr>
            <a:r>
              <a:rPr lang="en-US" sz="700" dirty="0">
                <a:solidFill>
                  <a:srgbClr val="000000"/>
                </a:solidFill>
              </a:rPr>
              <a:t>A facilitated, hands-on environment where you can experience the vision of Microsoft’s platform firsthand. 	</a:t>
            </a:r>
          </a:p>
          <a:p>
            <a:pPr>
              <a:spcAft>
                <a:spcPts val="1200"/>
              </a:spcAft>
            </a:pPr>
            <a:endParaRPr lang="en-US" dirty="0">
              <a:solidFill>
                <a:srgbClr val="000000"/>
              </a:solidFill>
            </a:endParaRPr>
          </a:p>
          <a:p>
            <a:r>
              <a:rPr lang="en-US" sz="700" b="1" dirty="0">
                <a:solidFill>
                  <a:srgbClr val="000000"/>
                </a:solidFill>
                <a:cs typeface="Segoe UI"/>
              </a:rPr>
              <a:t>Interactive Experiences</a:t>
            </a:r>
          </a:p>
          <a:p>
            <a:r>
              <a:rPr lang="en-US" dirty="0">
                <a:solidFill>
                  <a:srgbClr val="000000"/>
                </a:solidFill>
                <a:cs typeface="Segoe UI"/>
              </a:rPr>
              <a:t>A variety of hands-on device experiences that can be tailored to suit your</a:t>
            </a:r>
            <a:r>
              <a:rPr lang="en-US" baseline="0" dirty="0">
                <a:solidFill>
                  <a:srgbClr val="000000"/>
                </a:solidFill>
                <a:cs typeface="Segoe UI"/>
              </a:rPr>
              <a:t> </a:t>
            </a:r>
            <a:r>
              <a:rPr lang="en-US" dirty="0">
                <a:solidFill>
                  <a:srgbClr val="000000"/>
                </a:solidFill>
                <a:cs typeface="Segoe UI"/>
              </a:rPr>
              <a:t>needs. </a:t>
            </a:r>
          </a:p>
          <a:p>
            <a:endParaRPr lang="en-US" dirty="0">
              <a:solidFill>
                <a:srgbClr val="000000"/>
              </a:solidFill>
              <a:cs typeface="Segoe UI"/>
            </a:endParaRPr>
          </a:p>
          <a:p>
            <a:endParaRPr lang="en-US" dirty="0">
              <a:solidFill>
                <a:srgbClr val="000000"/>
              </a:solidFill>
              <a:cs typeface="Segoe UI" pitchFamily="34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 pitchFamily="34" charset="0"/>
                <a:ea typeface="+mn-ea"/>
                <a:cs typeface="Arial" pitchFamily="34" charset="0"/>
              </a:rPr>
              <a:pPr marL="0" marR="0" lvl="0" indent="0" algn="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745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 pitchFamily="34" charset="0"/>
                <a:ea typeface="+mn-ea"/>
                <a:cs typeface="Arial" pitchFamily="34" charset="0"/>
              </a:rPr>
              <a:pPr marL="0" marR="0" lvl="0" indent="0" algn="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4342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2B3E36-5CE0-4CB7-82DE-38A88C71BFA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4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220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E0C910-0166-48E0-B8EF-5071277A02A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4/2019 4:43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59033E-0412-4A8E-A7B1-52B9FF8BC9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y system that mimics human behavior</a:t>
            </a:r>
          </a:p>
          <a:p>
            <a:r>
              <a:rPr lang="en-US" dirty="0"/>
              <a:t>Decision trees</a:t>
            </a:r>
          </a:p>
          <a:p>
            <a:r>
              <a:rPr lang="en-US" dirty="0"/>
              <a:t>Expert systems</a:t>
            </a:r>
          </a:p>
          <a:p>
            <a:r>
              <a:rPr lang="en-US" dirty="0" err="1"/>
              <a:t>Msft</a:t>
            </a:r>
            <a:r>
              <a:rPr lang="en-US" dirty="0"/>
              <a:t> definition today</a:t>
            </a:r>
          </a:p>
          <a:p>
            <a:r>
              <a:rPr lang="en-US" dirty="0"/>
              <a:t>Ai winter due to hype, lack of data and compute</a:t>
            </a:r>
          </a:p>
          <a:p>
            <a:r>
              <a:rPr lang="en-US" dirty="0"/>
              <a:t>---</a:t>
            </a:r>
          </a:p>
          <a:p>
            <a:r>
              <a:rPr lang="en-US" dirty="0"/>
              <a:t>Data mining</a:t>
            </a:r>
          </a:p>
          <a:p>
            <a:r>
              <a:rPr lang="en-US" dirty="0"/>
              <a:t>And lots of data </a:t>
            </a:r>
          </a:p>
          <a:p>
            <a:r>
              <a:rPr lang="en-US" dirty="0"/>
              <a:t>Math to improve the data</a:t>
            </a:r>
          </a:p>
          <a:p>
            <a:r>
              <a:rPr lang="en-US" dirty="0"/>
              <a:t>Features and labels </a:t>
            </a:r>
          </a:p>
          <a:p>
            <a:r>
              <a:rPr lang="en-US" dirty="0"/>
              <a:t>---</a:t>
            </a:r>
          </a:p>
          <a:p>
            <a:r>
              <a:rPr lang="en-US" dirty="0"/>
              <a:t>Take a stack of </a:t>
            </a:r>
            <a:r>
              <a:rPr lang="en-US" dirty="0" err="1"/>
              <a:t>algos</a:t>
            </a:r>
            <a:r>
              <a:rPr lang="en-US" dirty="0"/>
              <a:t> and apply math</a:t>
            </a:r>
          </a:p>
          <a:p>
            <a:r>
              <a:rPr lang="en-US" dirty="0"/>
              <a:t>NNs</a:t>
            </a:r>
          </a:p>
          <a:p>
            <a:r>
              <a:rPr lang="en-US" dirty="0"/>
              <a:t>“layers”</a:t>
            </a:r>
          </a:p>
        </p:txBody>
      </p:sp>
    </p:spTree>
    <p:extLst>
      <p:ext uri="{BB962C8B-B14F-4D97-AF65-F5344CB8AC3E}">
        <p14:creationId xmlns:p14="http://schemas.microsoft.com/office/powerpoint/2010/main" val="1601089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L is about defining a function that takes input and generates output</a:t>
            </a:r>
          </a:p>
          <a:p>
            <a:r>
              <a:rPr lang="en-US" dirty="0"/>
              <a:t>lot of math involved, but you don’t need to be a </a:t>
            </a:r>
            <a:r>
              <a:rPr lang="en-US" dirty="0" err="1"/>
              <a:t>phd</a:t>
            </a:r>
            <a:endParaRPr lang="en-US" dirty="0"/>
          </a:p>
          <a:p>
            <a:r>
              <a:rPr lang="en-US" dirty="0"/>
              <a:t>predict the label</a:t>
            </a:r>
          </a:p>
          <a:p>
            <a:r>
              <a:rPr lang="en-US" dirty="0"/>
              <a:t>assume classificat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0035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ris classification data:  hello world of ML</a:t>
            </a:r>
          </a:p>
          <a:p>
            <a:r>
              <a:rPr lang="en-US" dirty="0"/>
              <a:t>3 different species of irises</a:t>
            </a:r>
          </a:p>
          <a:p>
            <a:r>
              <a:rPr lang="en-US" dirty="0"/>
              <a:t>x is a vector of multiple values (length, width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r>
              <a:rPr lang="en-US" dirty="0"/>
              <a:t>y is a vector.  </a:t>
            </a:r>
          </a:p>
          <a:p>
            <a:r>
              <a:rPr lang="en-US" dirty="0"/>
              <a:t>The output is the probabilities of the classes</a:t>
            </a:r>
          </a:p>
          <a:p>
            <a:r>
              <a:rPr lang="en-US" dirty="0"/>
              <a:t>we know the inputs, but what is f?</a:t>
            </a:r>
          </a:p>
          <a:p>
            <a:r>
              <a:rPr lang="en-US" dirty="0"/>
              <a:t>this is “traditional ML”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467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DL may be better, modeled on human brain</a:t>
            </a:r>
          </a:p>
          <a:p>
            <a:r>
              <a:rPr lang="en-US" dirty="0"/>
              <a:t>neuron</a:t>
            </a:r>
          </a:p>
          <a:p>
            <a:r>
              <a:rPr lang="en-US" dirty="0"/>
              <a:t>some inputs get stronger or weaker as we learn over time (weights)</a:t>
            </a:r>
          </a:p>
          <a:p>
            <a:r>
              <a:rPr lang="en-US" dirty="0"/>
              <a:t>when so many fire it gets passed to the next neuron</a:t>
            </a:r>
          </a:p>
          <a:p>
            <a:r>
              <a:rPr lang="en-US" dirty="0"/>
              <a:t>we want to control the firing a bit more so we add a bias </a:t>
            </a:r>
          </a:p>
          <a:p>
            <a:r>
              <a:rPr lang="en-US" dirty="0"/>
              <a:t>(weighted sum of each x/w pair)</a:t>
            </a:r>
          </a:p>
          <a:p>
            <a:r>
              <a:rPr lang="en-US" dirty="0"/>
              <a:t>the activation function (sigmoid) squashes the output between 0 and 1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029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ector of lengths and widths</a:t>
            </a:r>
          </a:p>
          <a:p>
            <a:r>
              <a:rPr lang="en-US" dirty="0"/>
              <a:t>neurons and randomly assigned weights</a:t>
            </a:r>
          </a:p>
          <a:p>
            <a:r>
              <a:rPr lang="en-US" dirty="0"/>
              <a:t>outputs are passed forward to another layer of neurons</a:t>
            </a:r>
          </a:p>
          <a:p>
            <a:r>
              <a:rPr lang="en-US" dirty="0"/>
              <a:t>fully connected network</a:t>
            </a:r>
          </a:p>
          <a:p>
            <a:r>
              <a:rPr lang="en-US" dirty="0"/>
              <a:t>output is always the number of classes</a:t>
            </a:r>
          </a:p>
          <a:p>
            <a:r>
              <a:rPr lang="en-US" dirty="0"/>
              <a:t>the loss function calculates the distance from the answer.</a:t>
            </a:r>
          </a:p>
          <a:p>
            <a:r>
              <a:rPr lang="en-US" dirty="0"/>
              <a:t>find the difference, then the mean, then square it</a:t>
            </a:r>
          </a:p>
          <a:p>
            <a:r>
              <a:rPr lang="en-US" dirty="0"/>
              <a:t>loss tells you how far from truth</a:t>
            </a:r>
          </a:p>
          <a:p>
            <a:r>
              <a:rPr lang="en-US" dirty="0"/>
              <a:t>this creates nested functions</a:t>
            </a:r>
          </a:p>
          <a:p>
            <a:r>
              <a:rPr lang="en-US" dirty="0"/>
              <a:t>function within a function, within a functio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4/24/2019 4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818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242758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February 11–15, 2019</a:t>
            </a:r>
          </a:p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Seattle, W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276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9845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585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 userDrawn="1">
          <p15:clr>
            <a:srgbClr val="5ACBF0"/>
          </p15:clr>
        </p15:guide>
        <p15:guide id="29" orient="horz" pos="1271" userDrawn="1">
          <p15:clr>
            <a:srgbClr val="5ACBF0"/>
          </p15:clr>
        </p15:guide>
        <p15:guide id="30" orient="horz" pos="288" userDrawn="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1615378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021635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4330334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510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 userDrawn="1">
          <p15:clr>
            <a:srgbClr val="5ACBF0"/>
          </p15:clr>
        </p15:guide>
        <p15:guide id="3" orient="horz" pos="1914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0358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27" userDrawn="1">
          <p15:clr>
            <a:srgbClr val="5ACBF0"/>
          </p15:clr>
        </p15:guide>
        <p15:guide id="3" orient="horz" pos="1911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829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4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242758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February 11–15, 2019</a:t>
            </a:r>
          </a:p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Seattle, WA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930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1263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05879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288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78933" y="1434372"/>
            <a:ext cx="10632019" cy="1095685"/>
          </a:xfrm>
        </p:spPr>
        <p:txBody>
          <a:bodyPr wrap="square">
            <a:spAutoFit/>
          </a:bodyPr>
          <a:lstStyle>
            <a:lvl1pPr marL="457200" indent="-457200">
              <a:buFont typeface="Arial" panose="020B0604020202020204" pitchFamily="34" charset="0"/>
              <a:buChar char="•"/>
              <a:defRPr/>
            </a:lvl1pPr>
            <a:lvl2pPr marL="571494" indent="-342900">
              <a:buFont typeface="Courier New" panose="02070309020205020404" pitchFamily="49" charset="0"/>
              <a:buChar char="o"/>
              <a:defRPr/>
            </a:lvl2pPr>
            <a:lvl3pPr marL="742939" indent="-285750">
              <a:buFont typeface="Wingdings" panose="05000000000000000000" pitchFamily="2" charset="2"/>
              <a:buChar char="§"/>
              <a:defRPr/>
            </a:lvl3pPr>
            <a:lvl4pPr marL="685783" indent="0">
              <a:buFont typeface="Courier New" panose="02070309020205020404" pitchFamily="49" charset="0"/>
              <a:buNone/>
              <a:defRPr/>
            </a:lvl4pPr>
            <a:lvl5pPr marL="1200127" indent="-285750"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295487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00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89988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12192001" cy="914400"/>
          </a:xfrm>
          <a:solidFill>
            <a:schemeClr val="accent1"/>
          </a:solidFill>
        </p:spPr>
        <p:txBody>
          <a:bodyPr lIns="329184" tIns="45720" rIns="0" bIns="45720">
            <a:noAutofit/>
          </a:bodyPr>
          <a:lstStyle>
            <a:lvl1pPr>
              <a:lnSpc>
                <a:spcPct val="100000"/>
              </a:lnSpc>
              <a:defRPr lang="en-US" sz="3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408390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8"/>
          <p:cNvSpPr>
            <a:spLocks noGrp="1"/>
          </p:cNvSpPr>
          <p:nvPr>
            <p:ph type="sldNum" sz="quarter" idx="15"/>
          </p:nvPr>
        </p:nvSpPr>
        <p:spPr>
          <a:xfrm>
            <a:off x="150853" y="6373098"/>
            <a:ext cx="1630787" cy="380126"/>
          </a:xfrm>
        </p:spPr>
        <p:txBody>
          <a:bodyPr/>
          <a:lstStyle/>
          <a:p>
            <a:fld id="{FAADACFB-7C71-4E89-89D2-7BBA40B7BFA9}" type="slidenum">
              <a:rPr lang="fr-FR" noProof="0" smtClean="0"/>
              <a:pPr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245679434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6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2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6" y="4342826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88C950A-4A3C-4BAC-B975-217A56158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02" y="246985"/>
            <a:ext cx="1741673" cy="57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50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598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9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2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54" indent="0">
              <a:buNone/>
              <a:defRPr sz="1765"/>
            </a:lvl2pPr>
            <a:lvl3pPr marL="448107" indent="0">
              <a:buNone/>
              <a:defRPr sz="1765"/>
            </a:lvl3pPr>
            <a:lvl4pPr marL="672161" indent="0">
              <a:buNone/>
              <a:defRPr sz="1765"/>
            </a:lvl4pPr>
            <a:lvl5pPr marL="896214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134225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82A7AF-E813-4C15-9BF4-9097D7492EC1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054922-7BB2-4879-9591-0FC5641284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F459D94-C874-4D77-AEED-DD630F44578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187043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067" indent="-280067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120" indent="-280067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174" indent="-280067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Font typeface="Arial" panose="020B0604020202020204" pitchFamily="34" charset="0"/>
              <a:buChar char="•"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26EB38-B802-47F3-8575-888FC1AA6B67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0F140AB-64C1-48AA-A79D-6818AEB0D90E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3818870-6D91-4EAA-9132-2E15E4E80F8B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923910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348880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1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4" y="2313292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3053341-E5CB-4603-A7D1-F64915184546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E6D7F9D-B875-4E75-BE96-C6AEB682F0FA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40F06A-D2B5-4A80-B009-4D9116EA0EAD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81824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5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4" y="2310842"/>
            <a:ext cx="3630521" cy="265598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067" lvl="1" indent="-280067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498568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3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6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3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6ABC6A5-2286-458F-8881-7622FBA353AE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0FAD3E8-4D59-4DCB-AE9B-C4D805BB43B9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E7DB636-1AE5-4AD4-9DFE-8A8AEFEE08A6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832015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3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07" indent="0">
              <a:lnSpc>
                <a:spcPct val="100000"/>
              </a:lnSpc>
              <a:spcBef>
                <a:spcPts val="0"/>
              </a:spcBef>
              <a:spcAft>
                <a:spcPts val="1371"/>
              </a:spcAft>
              <a:buNone/>
              <a:defRPr sz="1371">
                <a:solidFill>
                  <a:srgbClr val="000000"/>
                </a:solidFill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4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1" b="1">
                <a:solidFill>
                  <a:schemeClr val="tx2"/>
                </a:solidFill>
                <a:latin typeface="+mn-lt"/>
              </a:defRPr>
            </a:lvl1pPr>
            <a:lvl2pPr marL="280067" marR="0" indent="-280067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3" y="2313292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280067" marR="0" indent="-280067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1489A3-DD10-44FD-9986-8AB7959BD216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7FA93B7-EB2D-43DF-9ADE-BBAF11C961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7E7DE8-E117-4547-956A-5A96D5B1E5F0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338626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6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50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3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1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rgbClr val="000000"/>
                </a:solidFill>
              </a:defRPr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242B85-5464-438E-BC49-E2C787DACC5E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7CC4F51-1744-4347-928B-9C2EBD93C35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9FE803-4A39-4DD0-A534-2853E80251CA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88469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20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3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89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9764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4" orient="horz" pos="1272" userDrawn="1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20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3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192" rtl="0" eaLnBrk="1" latinLnBrk="0" hangingPunct="1">
              <a:lnSpc>
                <a:spcPts val="5489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3193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37EEB01-EA62-4484-93ED-FCECFCFFCA7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6328436-7F49-4152-89C8-03F31949ECE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B47ADE-367E-4BBD-AA82-62E248813C08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490714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F4A718E-6F7C-414B-B5B4-AA6809C76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544" y="437137"/>
            <a:ext cx="896425" cy="19021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F84E792-E4E1-427D-BAC4-FE6E519D839F}"/>
              </a:ext>
            </a:extLst>
          </p:cNvPr>
          <p:cNvSpPr/>
          <p:nvPr userDrawn="1"/>
        </p:nvSpPr>
        <p:spPr bwMode="auto">
          <a:xfrm>
            <a:off x="11303093" y="438569"/>
            <a:ext cx="460226" cy="126324"/>
          </a:xfrm>
          <a:custGeom>
            <a:avLst/>
            <a:gdLst/>
            <a:ahLst/>
            <a:cxnLst/>
            <a:rect l="l" t="t" r="r" b="b"/>
            <a:pathLst>
              <a:path w="469455" h="128839">
                <a:moveTo>
                  <a:pt x="430309" y="49220"/>
                </a:moveTo>
                <a:cubicBezTo>
                  <a:pt x="424418" y="49220"/>
                  <a:pt x="419425" y="51371"/>
                  <a:pt x="415331" y="55671"/>
                </a:cubicBezTo>
                <a:cubicBezTo>
                  <a:pt x="411236" y="59972"/>
                  <a:pt x="408718" y="65598"/>
                  <a:pt x="407775" y="72549"/>
                </a:cubicBezTo>
                <a:lnTo>
                  <a:pt x="449661" y="72549"/>
                </a:lnTo>
                <a:cubicBezTo>
                  <a:pt x="449602" y="65185"/>
                  <a:pt x="447864" y="59456"/>
                  <a:pt x="444447" y="55362"/>
                </a:cubicBezTo>
                <a:cubicBezTo>
                  <a:pt x="441031" y="51268"/>
                  <a:pt x="436318" y="49220"/>
                  <a:pt x="430309" y="49220"/>
                </a:cubicBezTo>
                <a:close/>
                <a:moveTo>
                  <a:pt x="219624" y="36231"/>
                </a:moveTo>
                <a:lnTo>
                  <a:pt x="240125" y="36231"/>
                </a:lnTo>
                <a:lnTo>
                  <a:pt x="240125" y="88190"/>
                </a:lnTo>
                <a:cubicBezTo>
                  <a:pt x="240125" y="104450"/>
                  <a:pt x="246399" y="112579"/>
                  <a:pt x="258947" y="112579"/>
                </a:cubicBezTo>
                <a:cubicBezTo>
                  <a:pt x="265015" y="112579"/>
                  <a:pt x="270008" y="110341"/>
                  <a:pt x="273925" y="105863"/>
                </a:cubicBezTo>
                <a:cubicBezTo>
                  <a:pt x="277843" y="101386"/>
                  <a:pt x="279802" y="95525"/>
                  <a:pt x="279802" y="88279"/>
                </a:cubicBezTo>
                <a:lnTo>
                  <a:pt x="279802" y="36231"/>
                </a:lnTo>
                <a:lnTo>
                  <a:pt x="300303" y="36231"/>
                </a:lnTo>
                <a:lnTo>
                  <a:pt x="300303" y="126718"/>
                </a:lnTo>
                <a:lnTo>
                  <a:pt x="279802" y="126718"/>
                </a:lnTo>
                <a:lnTo>
                  <a:pt x="279802" y="112403"/>
                </a:lnTo>
                <a:lnTo>
                  <a:pt x="279448" y="112403"/>
                </a:lnTo>
                <a:cubicBezTo>
                  <a:pt x="273498" y="123360"/>
                  <a:pt x="264249" y="128839"/>
                  <a:pt x="251701" y="128839"/>
                </a:cubicBezTo>
                <a:cubicBezTo>
                  <a:pt x="230316" y="128839"/>
                  <a:pt x="219624" y="115996"/>
                  <a:pt x="219624" y="90311"/>
                </a:cubicBezTo>
                <a:close/>
                <a:moveTo>
                  <a:pt x="129657" y="36231"/>
                </a:moveTo>
                <a:lnTo>
                  <a:pt x="202472" y="36231"/>
                </a:lnTo>
                <a:lnTo>
                  <a:pt x="202472" y="44802"/>
                </a:lnTo>
                <a:lnTo>
                  <a:pt x="153605" y="110724"/>
                </a:lnTo>
                <a:lnTo>
                  <a:pt x="202295" y="110724"/>
                </a:lnTo>
                <a:lnTo>
                  <a:pt x="202295" y="126718"/>
                </a:lnTo>
                <a:lnTo>
                  <a:pt x="124886" y="126718"/>
                </a:lnTo>
                <a:lnTo>
                  <a:pt x="124886" y="119030"/>
                </a:lnTo>
                <a:lnTo>
                  <a:pt x="174813" y="52225"/>
                </a:lnTo>
                <a:lnTo>
                  <a:pt x="129657" y="52225"/>
                </a:lnTo>
                <a:close/>
                <a:moveTo>
                  <a:pt x="370173" y="34640"/>
                </a:moveTo>
                <a:cubicBezTo>
                  <a:pt x="373884" y="34640"/>
                  <a:pt x="376712" y="35200"/>
                  <a:pt x="378656" y="36319"/>
                </a:cubicBezTo>
                <a:lnTo>
                  <a:pt x="378656" y="55760"/>
                </a:lnTo>
                <a:cubicBezTo>
                  <a:pt x="376182" y="53816"/>
                  <a:pt x="372618" y="52843"/>
                  <a:pt x="367964" y="52843"/>
                </a:cubicBezTo>
                <a:cubicBezTo>
                  <a:pt x="361896" y="52843"/>
                  <a:pt x="356830" y="55583"/>
                  <a:pt x="352765" y="61062"/>
                </a:cubicBezTo>
                <a:cubicBezTo>
                  <a:pt x="348700" y="66540"/>
                  <a:pt x="346667" y="73993"/>
                  <a:pt x="346667" y="83418"/>
                </a:cubicBezTo>
                <a:lnTo>
                  <a:pt x="346667" y="126718"/>
                </a:lnTo>
                <a:lnTo>
                  <a:pt x="326166" y="126718"/>
                </a:lnTo>
                <a:lnTo>
                  <a:pt x="326166" y="36231"/>
                </a:lnTo>
                <a:lnTo>
                  <a:pt x="346667" y="36231"/>
                </a:lnTo>
                <a:lnTo>
                  <a:pt x="346667" y="54876"/>
                </a:lnTo>
                <a:lnTo>
                  <a:pt x="347021" y="54876"/>
                </a:lnTo>
                <a:cubicBezTo>
                  <a:pt x="349024" y="48514"/>
                  <a:pt x="352102" y="43550"/>
                  <a:pt x="356255" y="39986"/>
                </a:cubicBezTo>
                <a:cubicBezTo>
                  <a:pt x="360408" y="36422"/>
                  <a:pt x="365048" y="34640"/>
                  <a:pt x="370173" y="34640"/>
                </a:cubicBezTo>
                <a:close/>
                <a:moveTo>
                  <a:pt x="430574" y="34110"/>
                </a:moveTo>
                <a:cubicBezTo>
                  <a:pt x="442945" y="34110"/>
                  <a:pt x="452518" y="38086"/>
                  <a:pt x="459293" y="46039"/>
                </a:cubicBezTo>
                <a:cubicBezTo>
                  <a:pt x="466068" y="53992"/>
                  <a:pt x="469455" y="65038"/>
                  <a:pt x="469455" y="79177"/>
                </a:cubicBezTo>
                <a:lnTo>
                  <a:pt x="469455" y="87041"/>
                </a:lnTo>
                <a:lnTo>
                  <a:pt x="407775" y="87041"/>
                </a:lnTo>
                <a:cubicBezTo>
                  <a:pt x="408011" y="95407"/>
                  <a:pt x="410588" y="101858"/>
                  <a:pt x="415507" y="106394"/>
                </a:cubicBezTo>
                <a:cubicBezTo>
                  <a:pt x="420426" y="110930"/>
                  <a:pt x="427187" y="113198"/>
                  <a:pt x="435788" y="113198"/>
                </a:cubicBezTo>
                <a:cubicBezTo>
                  <a:pt x="445449" y="113198"/>
                  <a:pt x="454315" y="110311"/>
                  <a:pt x="462386" y="104538"/>
                </a:cubicBezTo>
                <a:lnTo>
                  <a:pt x="462386" y="121063"/>
                </a:lnTo>
                <a:cubicBezTo>
                  <a:pt x="454138" y="126247"/>
                  <a:pt x="443240" y="128839"/>
                  <a:pt x="429690" y="128839"/>
                </a:cubicBezTo>
                <a:cubicBezTo>
                  <a:pt x="416376" y="128839"/>
                  <a:pt x="405934" y="124730"/>
                  <a:pt x="398364" y="116512"/>
                </a:cubicBezTo>
                <a:cubicBezTo>
                  <a:pt x="390794" y="108294"/>
                  <a:pt x="387009" y="96732"/>
                  <a:pt x="387009" y="81828"/>
                </a:cubicBezTo>
                <a:cubicBezTo>
                  <a:pt x="387009" y="67748"/>
                  <a:pt x="391177" y="56275"/>
                  <a:pt x="399513" y="47409"/>
                </a:cubicBezTo>
                <a:cubicBezTo>
                  <a:pt x="407849" y="38543"/>
                  <a:pt x="418203" y="34110"/>
                  <a:pt x="430574" y="34110"/>
                </a:cubicBezTo>
                <a:close/>
                <a:moveTo>
                  <a:pt x="58587" y="18822"/>
                </a:moveTo>
                <a:cubicBezTo>
                  <a:pt x="58057" y="22180"/>
                  <a:pt x="57468" y="24831"/>
                  <a:pt x="56820" y="26775"/>
                </a:cubicBezTo>
                <a:lnTo>
                  <a:pt x="39412" y="77321"/>
                </a:lnTo>
                <a:lnTo>
                  <a:pt x="78205" y="77321"/>
                </a:lnTo>
                <a:lnTo>
                  <a:pt x="60620" y="26775"/>
                </a:lnTo>
                <a:cubicBezTo>
                  <a:pt x="60090" y="25126"/>
                  <a:pt x="59530" y="22475"/>
                  <a:pt x="58941" y="18822"/>
                </a:cubicBezTo>
                <a:close/>
                <a:moveTo>
                  <a:pt x="47453" y="0"/>
                </a:moveTo>
                <a:lnTo>
                  <a:pt x="71135" y="0"/>
                </a:lnTo>
                <a:lnTo>
                  <a:pt x="118235" y="126718"/>
                </a:lnTo>
                <a:lnTo>
                  <a:pt x="95171" y="126718"/>
                </a:lnTo>
                <a:lnTo>
                  <a:pt x="83772" y="94464"/>
                </a:lnTo>
                <a:lnTo>
                  <a:pt x="33933" y="94464"/>
                </a:lnTo>
                <a:lnTo>
                  <a:pt x="22976" y="126718"/>
                </a:lnTo>
                <a:lnTo>
                  <a:pt x="0" y="126718"/>
                </a:lnTo>
                <a:close/>
              </a:path>
            </a:pathLst>
          </a:cu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119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8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116619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82A7AF-E813-4C15-9BF4-9097D7492EC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054922-7BB2-4879-9591-0FC5641284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F459D94-C874-4D77-AEED-DD630F44578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49050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121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217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314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26EB38-B802-47F3-8575-888FC1AA6B67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0F140AB-64C1-48AA-A79D-6818AEB0D90E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3818870-6D91-4EAA-9132-2E15E4E80F8B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258654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794134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0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3291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3053341-E5CB-4603-A7D1-F64915184546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E6D7F9D-B875-4E75-BE96-C6AEB682F0FA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40F06A-D2B5-4A80-B009-4D9116EA0EAD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472275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688980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6ABC6A5-2286-458F-8881-7622FBA353A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0FAD3E8-4D59-4DCB-AE9B-C4D805BB43B9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E7DB636-1AE5-4AD4-9DFE-8A8AEFEE08A6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19568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  <p15:guide id="5" orient="horz" pos="904" userDrawn="1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1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1489A3-DD10-44FD-9986-8AB7959BD216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7FA93B7-EB2D-43DF-9ADE-BBAF11C961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7E7DE8-E117-4547-956A-5A96D5B1E5F0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816649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4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2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242B85-5464-438E-BC49-E2C787DACC5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7CC4F51-1744-4347-928B-9C2EBD93C35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9FE803-4A39-4DD0-A534-2853E80251CA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18781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8104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4890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37EEB01-EA62-4484-93ED-FCECFCFFCA78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6328436-7F49-4152-89C8-03F31949ECE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B47ADE-367E-4BBD-AA82-62E248813C08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636401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44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178411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500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266580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6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 userDrawn="1">
          <p15:clr>
            <a:srgbClr val="5ACBF0"/>
          </p15:clr>
        </p15:guide>
        <p15:guide id="4" orient="horz" pos="1276" userDrawn="1">
          <p15:clr>
            <a:srgbClr val="5ACBF0"/>
          </p15:clr>
        </p15:guide>
        <p15:guide id="5" orient="horz" pos="288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5573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11.emf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0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8" r:id="rId1"/>
    <p:sldLayoutId id="2147484649" r:id="rId2"/>
    <p:sldLayoutId id="2147484610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652" r:id="rId9"/>
    <p:sldLayoutId id="2147484639" r:id="rId10"/>
    <p:sldLayoutId id="2147484603" r:id="rId11"/>
    <p:sldLayoutId id="2147484645" r:id="rId12"/>
    <p:sldLayoutId id="2147484646" r:id="rId13"/>
    <p:sldLayoutId id="2147484647" r:id="rId14"/>
    <p:sldLayoutId id="2147484249" r:id="rId15"/>
    <p:sldLayoutId id="2147484582" r:id="rId16"/>
    <p:sldLayoutId id="2147484584" r:id="rId17"/>
    <p:sldLayoutId id="2147484583" r:id="rId18"/>
    <p:sldLayoutId id="2147484256" r:id="rId19"/>
    <p:sldLayoutId id="2147484257" r:id="rId20"/>
    <p:sldLayoutId id="2147484651" r:id="rId21"/>
    <p:sldLayoutId id="2147484585" r:id="rId22"/>
    <p:sldLayoutId id="2147484299" r:id="rId23"/>
    <p:sldLayoutId id="2147484263" r:id="rId24"/>
    <p:sldLayoutId id="2147484653" r:id="rId25"/>
    <p:sldLayoutId id="2147484654" r:id="rId26"/>
    <p:sldLayoutId id="2147484686" r:id="rId27"/>
    <p:sldLayoutId id="2147484687" r:id="rId2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 userDrawn="1">
          <p15:clr>
            <a:srgbClr val="C35EA4"/>
          </p15:clr>
        </p15:guide>
        <p15:guide id="17" pos="7313" userDrawn="1">
          <p15:clr>
            <a:srgbClr val="C35EA4"/>
          </p15:clr>
        </p15:guide>
        <p15:guide id="25" orient="horz" pos="369" userDrawn="1">
          <p15:clr>
            <a:srgbClr val="C35EA4"/>
          </p15:clr>
        </p15:guide>
        <p15:guide id="26" orient="horz" pos="3949" userDrawn="1">
          <p15:clr>
            <a:srgbClr val="C35EA4"/>
          </p15:clr>
        </p15:guide>
        <p15:guide id="27" orient="horz" pos="184" userDrawn="1">
          <p15:clr>
            <a:srgbClr val="A4A3A4"/>
          </p15:clr>
        </p15:guide>
        <p15:guide id="28" pos="185" userDrawn="1">
          <p15:clr>
            <a:srgbClr val="A4A3A4"/>
          </p15:clr>
        </p15:guide>
        <p15:guide id="29" orient="horz" pos="4135" userDrawn="1">
          <p15:clr>
            <a:srgbClr val="A4A3A4"/>
          </p15:clr>
        </p15:guide>
        <p15:guide id="30" pos="749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C9B1B5-B09F-4B98-AFC2-1B4B55BE018E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 rot="5400000">
            <a:off x="9044629" y="3216843"/>
            <a:ext cx="6858000" cy="42431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224112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110106"/>
            <a:ext cx="11336039" cy="2031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755482" y="3012080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761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6" r:id="rId1"/>
    <p:sldLayoutId id="2147484657" r:id="rId2"/>
    <p:sldLayoutId id="2147484658" r:id="rId3"/>
    <p:sldLayoutId id="2147484659" r:id="rId4"/>
    <p:sldLayoutId id="2147484660" r:id="rId5"/>
    <p:sldLayoutId id="2147484661" r:id="rId6"/>
    <p:sldLayoutId id="2147484662" r:id="rId7"/>
    <p:sldLayoutId id="2147484663" r:id="rId8"/>
    <p:sldLayoutId id="2147484664" r:id="rId9"/>
    <p:sldLayoutId id="2147484665" r:id="rId10"/>
    <p:sldLayoutId id="2147484666" r:id="rId11"/>
    <p:sldLayoutId id="2147484667" r:id="rId12"/>
    <p:sldLayoutId id="2147484668" r:id="rId13"/>
    <p:sldLayoutId id="2147484669" r:id="rId14"/>
    <p:sldLayoutId id="2147484670" r:id="rId15"/>
    <p:sldLayoutId id="2147484671" r:id="rId16"/>
    <p:sldLayoutId id="2147484672" r:id="rId17"/>
    <p:sldLayoutId id="2147484673" r:id="rId18"/>
    <p:sldLayoutId id="2147484674" r:id="rId19"/>
    <p:sldLayoutId id="2147484675" r:id="rId20"/>
    <p:sldLayoutId id="2147484676" r:id="rId21"/>
    <p:sldLayoutId id="2147484677" r:id="rId22"/>
    <p:sldLayoutId id="2147484678" r:id="rId23"/>
    <p:sldLayoutId id="2147484679" r:id="rId24"/>
    <p:sldLayoutId id="2147484680" r:id="rId25"/>
    <p:sldLayoutId id="2147484681" r:id="rId26"/>
    <p:sldLayoutId id="2147484682" r:id="rId27"/>
    <p:sldLayoutId id="2147484683" r:id="rId28"/>
    <p:sldLayoutId id="2147484684" r:id="rId29"/>
    <p:sldLayoutId id="2147484685" r:id="rId30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47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2745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://en.wikipedia.org/wiki/File:Siberian_Iris_Iris_sibirica_Flower_Closeup_2520px.jpg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2.png"/><Relationship Id="rId4" Type="http://schemas.openxmlformats.org/officeDocument/2006/relationships/hyperlink" Target="http://en.wikipedia.org/wiki/File:Siberian_Iris_Iris_sibirica_Flower_Closeup_2520px.jpg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6.emf"/><Relationship Id="rId11" Type="http://schemas.openxmlformats.org/officeDocument/2006/relationships/hyperlink" Target="http://commons.wikimedia.org/wiki/File:Iris_douglasiana_flower_2003-03-17.jpg" TargetMode="External"/><Relationship Id="rId5" Type="http://schemas.openxmlformats.org/officeDocument/2006/relationships/image" Target="../media/image25.png"/><Relationship Id="rId10" Type="http://schemas.openxmlformats.org/officeDocument/2006/relationships/image" Target="../media/image18.jpg"/><Relationship Id="rId4" Type="http://schemas.openxmlformats.org/officeDocument/2006/relationships/image" Target="../media/image24.emf"/><Relationship Id="rId9" Type="http://schemas.openxmlformats.org/officeDocument/2006/relationships/image" Target="../media/image2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en.wikipedia.org/wiki/File:Siberian_Iris_Iris_sibirica_Flower_Closeup_2520px.jpg" TargetMode="External"/><Relationship Id="rId3" Type="http://schemas.openxmlformats.org/officeDocument/2006/relationships/image" Target="../media/image18.jpg"/><Relationship Id="rId7" Type="http://schemas.openxmlformats.org/officeDocument/2006/relationships/image" Target="../media/image2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://en.wikipedia.org/wiki/File:Iris_versicolor_3.jpg" TargetMode="External"/><Relationship Id="rId5" Type="http://schemas.openxmlformats.org/officeDocument/2006/relationships/image" Target="../media/image19.jpg"/><Relationship Id="rId4" Type="http://schemas.openxmlformats.org/officeDocument/2006/relationships/hyperlink" Target="http://commons.wikimedia.org/wiki/File:Iris_douglasiana_flower_2003-03-17.jpg" TargetMode="Externa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77573" y="2789582"/>
            <a:ext cx="9144000" cy="3558538"/>
          </a:xfrm>
        </p:spPr>
        <p:txBody>
          <a:bodyPr/>
          <a:lstStyle/>
          <a:p>
            <a:r>
              <a:rPr lang="en-US" sz="2260" dirty="0"/>
              <a:t>Dave Wentzel</a:t>
            </a:r>
          </a:p>
          <a:p>
            <a:r>
              <a:rPr lang="en-US" sz="2260" dirty="0"/>
              <a:t>linkedin.com/in/</a:t>
            </a:r>
            <a:r>
              <a:rPr lang="en-US" sz="2260" dirty="0" err="1"/>
              <a:t>dwentzel</a:t>
            </a:r>
            <a:endParaRPr lang="en-US" sz="2260" dirty="0"/>
          </a:p>
          <a:p>
            <a:endParaRPr lang="en-US" sz="2260" dirty="0"/>
          </a:p>
          <a:p>
            <a:r>
              <a:rPr lang="en-US" sz="2400" dirty="0"/>
              <a:t>git.davewentzel.com/demos/datasciencehack</a:t>
            </a:r>
          </a:p>
          <a:p>
            <a:endParaRPr lang="en-US" sz="2260" dirty="0"/>
          </a:p>
          <a:p>
            <a:r>
              <a:rPr lang="en-US" sz="2260" dirty="0" err="1"/>
              <a:t>Wifi</a:t>
            </a:r>
            <a:r>
              <a:rPr lang="en-US" sz="2260" dirty="0"/>
              <a:t>:  </a:t>
            </a:r>
          </a:p>
          <a:p>
            <a:pPr lvl="1"/>
            <a:r>
              <a:rPr lang="en-US" sz="2260" dirty="0" err="1"/>
              <a:t>Msftguest</a:t>
            </a:r>
            <a:endParaRPr lang="en-US" sz="2260" dirty="0"/>
          </a:p>
          <a:p>
            <a:pPr lvl="1"/>
            <a:r>
              <a:rPr lang="en-US" sz="2260" dirty="0"/>
              <a:t>Attendee code: </a:t>
            </a:r>
            <a:r>
              <a:rPr lang="en-US" sz="2400" b="1" dirty="0"/>
              <a:t>msevent362dc</a:t>
            </a:r>
            <a:endParaRPr lang="en-US" sz="226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0096" y="1462404"/>
            <a:ext cx="8469058" cy="553998"/>
          </a:xfrm>
        </p:spPr>
        <p:txBody>
          <a:bodyPr/>
          <a:lstStyle/>
          <a:p>
            <a:r>
              <a:rPr lang="en-US" dirty="0" err="1"/>
              <a:t>OpenHack</a:t>
            </a:r>
            <a:r>
              <a:rPr lang="en-US" dirty="0"/>
              <a:t>:  Deep Learning</a:t>
            </a:r>
          </a:p>
        </p:txBody>
      </p:sp>
    </p:spTree>
    <p:extLst>
      <p:ext uri="{BB962C8B-B14F-4D97-AF65-F5344CB8AC3E}">
        <p14:creationId xmlns:p14="http://schemas.microsoft.com/office/powerpoint/2010/main" val="318228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2F6CA85-B003-4A33-80F4-7767273D37EC}"/>
              </a:ext>
            </a:extLst>
          </p:cNvPr>
          <p:cNvSpPr/>
          <p:nvPr/>
        </p:nvSpPr>
        <p:spPr bwMode="auto">
          <a:xfrm>
            <a:off x="2751015" y="554892"/>
            <a:ext cx="7049477" cy="50018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87C8D60-FCF9-4190-AB41-848B34D1F8C0}"/>
              </a:ext>
            </a:extLst>
          </p:cNvPr>
          <p:cNvSpPr/>
          <p:nvPr/>
        </p:nvSpPr>
        <p:spPr bwMode="auto">
          <a:xfrm>
            <a:off x="2743200" y="640860"/>
            <a:ext cx="7065108" cy="4837723"/>
          </a:xfrm>
          <a:custGeom>
            <a:avLst/>
            <a:gdLst>
              <a:gd name="connsiteX0" fmla="*/ 0 w 7065108"/>
              <a:gd name="connsiteY0" fmla="*/ 218446 h 5393451"/>
              <a:gd name="connsiteX1" fmla="*/ 953477 w 7065108"/>
              <a:gd name="connsiteY1" fmla="*/ 257523 h 5393451"/>
              <a:gd name="connsiteX2" fmla="*/ 2868246 w 7065108"/>
              <a:gd name="connsiteY2" fmla="*/ 2797523 h 5393451"/>
              <a:gd name="connsiteX3" fmla="*/ 5509846 w 7065108"/>
              <a:gd name="connsiteY3" fmla="*/ 5165585 h 5393451"/>
              <a:gd name="connsiteX4" fmla="*/ 7065108 w 7065108"/>
              <a:gd name="connsiteY4" fmla="*/ 5165585 h 5393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65108" h="5393451">
                <a:moveTo>
                  <a:pt x="0" y="218446"/>
                </a:moveTo>
                <a:cubicBezTo>
                  <a:pt x="237718" y="23061"/>
                  <a:pt x="475436" y="-172323"/>
                  <a:pt x="953477" y="257523"/>
                </a:cubicBezTo>
                <a:cubicBezTo>
                  <a:pt x="1431518" y="687369"/>
                  <a:pt x="2108851" y="1979513"/>
                  <a:pt x="2868246" y="2797523"/>
                </a:cubicBezTo>
                <a:cubicBezTo>
                  <a:pt x="3627641" y="3615533"/>
                  <a:pt x="4810369" y="4770908"/>
                  <a:pt x="5509846" y="5165585"/>
                </a:cubicBezTo>
                <a:cubicBezTo>
                  <a:pt x="6209323" y="5560262"/>
                  <a:pt x="6637215" y="5362923"/>
                  <a:pt x="7065108" y="5165585"/>
                </a:cubicBezTo>
              </a:path>
            </a:pathLst>
          </a:custGeom>
          <a:noFill/>
          <a:ln w="76200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F9DE21-DC84-4C0A-91EF-DB291DD76AE2}"/>
              </a:ext>
            </a:extLst>
          </p:cNvPr>
          <p:cNvSpPr txBox="1"/>
          <p:nvPr/>
        </p:nvSpPr>
        <p:spPr>
          <a:xfrm>
            <a:off x="2379130" y="461553"/>
            <a:ext cx="24846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76D6280-9393-4F84-8F0C-C4A4DB9ED376}"/>
              </a:ext>
            </a:extLst>
          </p:cNvPr>
          <p:cNvSpPr/>
          <p:nvPr/>
        </p:nvSpPr>
        <p:spPr bwMode="auto">
          <a:xfrm>
            <a:off x="7346461" y="4626708"/>
            <a:ext cx="461108" cy="461108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B9F072C-86F8-4CC7-8088-01BF2D662BAC}"/>
              </a:ext>
            </a:extLst>
          </p:cNvPr>
          <p:cNvGrpSpPr/>
          <p:nvPr/>
        </p:nvGrpSpPr>
        <p:grpSpPr>
          <a:xfrm>
            <a:off x="1571651" y="2467903"/>
            <a:ext cx="8300803" cy="4196831"/>
            <a:chOff x="1571651" y="2467903"/>
            <a:chExt cx="8300803" cy="419683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90A2F01-F30E-4E85-BBD1-BBBBDBD5CA20}"/>
                </a:ext>
              </a:extLst>
            </p:cNvPr>
            <p:cNvSpPr txBox="1"/>
            <p:nvPr/>
          </p:nvSpPr>
          <p:spPr>
            <a:xfrm>
              <a:off x="2440840" y="5556738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24455E7-89C1-4FD4-B2B3-62BF298B3B1B}"/>
                </a:ext>
              </a:extLst>
            </p:cNvPr>
            <p:cNvSpPr txBox="1"/>
            <p:nvPr/>
          </p:nvSpPr>
          <p:spPr>
            <a:xfrm rot="16200000">
              <a:off x="1408625" y="2630929"/>
              <a:ext cx="880049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s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B8E3405-E4D7-474A-B2C1-7938AC706D4C}"/>
                </a:ext>
              </a:extLst>
            </p:cNvPr>
            <p:cNvSpPr txBox="1"/>
            <p:nvPr/>
          </p:nvSpPr>
          <p:spPr>
            <a:xfrm>
              <a:off x="6157987" y="6110736"/>
              <a:ext cx="50013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3600" b="0" i="0" u="none" strike="noStrike" kern="1200" cap="none" spc="0" normalizeH="0" baseline="-2500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98B4449-3E51-470D-B6F2-384A9FCD04A1}"/>
                </a:ext>
              </a:extLst>
            </p:cNvPr>
            <p:cNvSpPr txBox="1"/>
            <p:nvPr/>
          </p:nvSpPr>
          <p:spPr>
            <a:xfrm>
              <a:off x="7452782" y="5560680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08E2066-5CF0-46F2-9834-0D9BBA1A75BF}"/>
                </a:ext>
              </a:extLst>
            </p:cNvPr>
            <p:cNvSpPr txBox="1"/>
            <p:nvPr/>
          </p:nvSpPr>
          <p:spPr>
            <a:xfrm>
              <a:off x="4850257" y="5556738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97196C0-B45F-464A-A751-DB5FDE6FB764}"/>
                </a:ext>
              </a:extLst>
            </p:cNvPr>
            <p:cNvSpPr txBox="1"/>
            <p:nvPr/>
          </p:nvSpPr>
          <p:spPr>
            <a:xfrm>
              <a:off x="9623988" y="5556738"/>
              <a:ext cx="248466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E840BD8-890B-4427-AD92-A00E1449E672}"/>
              </a:ext>
            </a:extLst>
          </p:cNvPr>
          <p:cNvCxnSpPr/>
          <p:nvPr/>
        </p:nvCxnSpPr>
        <p:spPr>
          <a:xfrm>
            <a:off x="7026166" y="4482662"/>
            <a:ext cx="924910" cy="683172"/>
          </a:xfrm>
          <a:prstGeom prst="straightConnector1">
            <a:avLst/>
          </a:prstGeom>
          <a:ln w="7620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145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AC07B3C-E9CE-4F71-9752-C6782FD534E8}"/>
              </a:ext>
            </a:extLst>
          </p:cNvPr>
          <p:cNvGraphicFramePr/>
          <p:nvPr>
            <p:extLst/>
          </p:nvPr>
        </p:nvGraphicFramePr>
        <p:xfrm>
          <a:off x="683171" y="68317"/>
          <a:ext cx="10547131" cy="6789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C2B35E62-2A2D-49F5-8813-90C04A820AE7}"/>
              </a:ext>
            </a:extLst>
          </p:cNvPr>
          <p:cNvSpPr/>
          <p:nvPr/>
        </p:nvSpPr>
        <p:spPr bwMode="auto">
          <a:xfrm>
            <a:off x="4840014" y="1698229"/>
            <a:ext cx="373118" cy="37311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2">
                <a:lumMod val="20000"/>
                <a:lumOff val="8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06EEFD7-84FA-4F27-AD27-F8497F4FB45B}"/>
              </a:ext>
            </a:extLst>
          </p:cNvPr>
          <p:cNvCxnSpPr>
            <a:cxnSpLocks/>
          </p:cNvCxnSpPr>
          <p:nvPr/>
        </p:nvCxnSpPr>
        <p:spPr>
          <a:xfrm>
            <a:off x="4770445" y="1698229"/>
            <a:ext cx="653977" cy="483052"/>
          </a:xfrm>
          <a:prstGeom prst="straightConnector1">
            <a:avLst/>
          </a:prstGeom>
          <a:ln w="5715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A977BF0-2F75-4AB9-91C2-95121175E5D3}"/>
              </a:ext>
            </a:extLst>
          </p:cNvPr>
          <p:cNvCxnSpPr>
            <a:cxnSpLocks/>
          </p:cNvCxnSpPr>
          <p:nvPr/>
        </p:nvCxnSpPr>
        <p:spPr>
          <a:xfrm>
            <a:off x="5001950" y="1580624"/>
            <a:ext cx="182605" cy="896128"/>
          </a:xfrm>
          <a:prstGeom prst="straightConnector1">
            <a:avLst/>
          </a:prstGeom>
          <a:ln w="5715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64071C5-6D42-4E97-A3CE-6D3C5ECD63AA}"/>
              </a:ext>
            </a:extLst>
          </p:cNvPr>
          <p:cNvCxnSpPr>
            <a:cxnSpLocks/>
          </p:cNvCxnSpPr>
          <p:nvPr/>
        </p:nvCxnSpPr>
        <p:spPr>
          <a:xfrm flipV="1">
            <a:off x="4614389" y="1698229"/>
            <a:ext cx="922127" cy="483052"/>
          </a:xfrm>
          <a:prstGeom prst="straightConnector1">
            <a:avLst/>
          </a:prstGeom>
          <a:ln w="57150">
            <a:solidFill>
              <a:srgbClr val="FF0000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3B7DCF6-7D1E-4E31-8CD8-6E0FBB9AC5BD}"/>
              </a:ext>
            </a:extLst>
          </p:cNvPr>
          <p:cNvSpPr txBox="1"/>
          <p:nvPr/>
        </p:nvSpPr>
        <p:spPr>
          <a:xfrm rot="15985048">
            <a:off x="47537" y="2893688"/>
            <a:ext cx="88004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</a:t>
            </a:r>
          </a:p>
        </p:txBody>
      </p:sp>
    </p:spTree>
    <p:extLst>
      <p:ext uri="{BB962C8B-B14F-4D97-AF65-F5344CB8AC3E}">
        <p14:creationId xmlns:p14="http://schemas.microsoft.com/office/powerpoint/2010/main" val="32127124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5" grpId="0" animBg="1"/>
      <p:bldP spid="1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75544576-2AD4-4EE9-AD44-395F863B5F38}"/>
              </a:ext>
            </a:extLst>
          </p:cNvPr>
          <p:cNvGrpSpPr/>
          <p:nvPr/>
        </p:nvGrpSpPr>
        <p:grpSpPr>
          <a:xfrm>
            <a:off x="7468989" y="2203441"/>
            <a:ext cx="3916939" cy="2246165"/>
            <a:chOff x="7458477" y="2195559"/>
            <a:chExt cx="3916939" cy="2246165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30C3E28-C588-4E95-998A-0930612F4541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7888933-0A5C-48A5-AEBA-0831B0D821C4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4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96D0FAF-BDF3-47BE-AE43-4B1F7CBA4014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7E10165-6C2F-493D-BB28-43D17D29EFBE}"/>
                </a:ext>
              </a:extLst>
            </p:cNvPr>
            <p:cNvSpPr txBox="1"/>
            <p:nvPr/>
          </p:nvSpPr>
          <p:spPr>
            <a:xfrm>
              <a:off x="8331313" y="3009680"/>
              <a:ext cx="3044103" cy="6155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= [</a:t>
              </a: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, 0.4, 0.3</a:t>
              </a: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]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24D6F81A-0D65-495C-AF85-8CD465E62844}"/>
              </a:ext>
            </a:extLst>
          </p:cNvPr>
          <p:cNvSpPr/>
          <p:nvPr/>
        </p:nvSpPr>
        <p:spPr bwMode="auto">
          <a:xfrm>
            <a:off x="3699642" y="159231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45CF4F1-F6B7-46DA-BEB4-E8D3ECFAB3E3}"/>
              </a:ext>
            </a:extLst>
          </p:cNvPr>
          <p:cNvSpPr/>
          <p:nvPr/>
        </p:nvSpPr>
        <p:spPr bwMode="auto">
          <a:xfrm>
            <a:off x="3710153" y="2532991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70D0C98-44F6-46EC-BFD8-2F32FF9A3526}"/>
              </a:ext>
            </a:extLst>
          </p:cNvPr>
          <p:cNvSpPr/>
          <p:nvPr/>
        </p:nvSpPr>
        <p:spPr bwMode="auto">
          <a:xfrm>
            <a:off x="3699642" y="3429000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2E72C10-C0BF-45AB-A715-14229AD99EF7}"/>
              </a:ext>
            </a:extLst>
          </p:cNvPr>
          <p:cNvSpPr/>
          <p:nvPr/>
        </p:nvSpPr>
        <p:spPr bwMode="auto">
          <a:xfrm>
            <a:off x="3710152" y="436967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AB187F6-EDC8-4346-9FB9-EDB01598A784}"/>
              </a:ext>
            </a:extLst>
          </p:cNvPr>
          <p:cNvSpPr/>
          <p:nvPr/>
        </p:nvSpPr>
        <p:spPr bwMode="auto">
          <a:xfrm>
            <a:off x="6211614" y="210469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ED911FB-571B-4AD6-808B-7A0388D61EC9}"/>
              </a:ext>
            </a:extLst>
          </p:cNvPr>
          <p:cNvSpPr/>
          <p:nvPr/>
        </p:nvSpPr>
        <p:spPr bwMode="auto">
          <a:xfrm>
            <a:off x="6222125" y="294289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3EFFFE-B846-46BF-9F90-3DF1CDED233F}"/>
              </a:ext>
            </a:extLst>
          </p:cNvPr>
          <p:cNvSpPr/>
          <p:nvPr/>
        </p:nvSpPr>
        <p:spPr bwMode="auto">
          <a:xfrm>
            <a:off x="6222125" y="3791608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C50213A-D578-402E-B7E5-E0F24216C905}"/>
              </a:ext>
            </a:extLst>
          </p:cNvPr>
          <p:cNvCxnSpPr>
            <a:cxnSpLocks/>
            <a:stCxn id="2" idx="6"/>
            <a:endCxn id="14" idx="2"/>
          </p:cNvCxnSpPr>
          <p:nvPr/>
        </p:nvCxnSpPr>
        <p:spPr>
          <a:xfrm>
            <a:off x="4466898" y="1975944"/>
            <a:ext cx="1744716" cy="5123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7E7231D-955A-42E0-A8B1-2F509592E892}"/>
              </a:ext>
            </a:extLst>
          </p:cNvPr>
          <p:cNvCxnSpPr>
            <a:cxnSpLocks/>
            <a:stCxn id="2" idx="6"/>
            <a:endCxn id="15" idx="2"/>
          </p:cNvCxnSpPr>
          <p:nvPr/>
        </p:nvCxnSpPr>
        <p:spPr>
          <a:xfrm>
            <a:off x="4466898" y="1975944"/>
            <a:ext cx="1755227" cy="13505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E8C49BD-30FF-4DFD-9B41-F1F783275704}"/>
              </a:ext>
            </a:extLst>
          </p:cNvPr>
          <p:cNvCxnSpPr>
            <a:cxnSpLocks/>
            <a:stCxn id="2" idx="6"/>
            <a:endCxn id="16" idx="2"/>
          </p:cNvCxnSpPr>
          <p:nvPr/>
        </p:nvCxnSpPr>
        <p:spPr>
          <a:xfrm>
            <a:off x="4466898" y="1975944"/>
            <a:ext cx="1755227" cy="2199292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6413AA7B-CB95-4C17-83C1-5CF79CF4ACD1}"/>
              </a:ext>
            </a:extLst>
          </p:cNvPr>
          <p:cNvCxnSpPr>
            <a:cxnSpLocks/>
            <a:stCxn id="3" idx="6"/>
            <a:endCxn id="14" idx="2"/>
          </p:cNvCxnSpPr>
          <p:nvPr/>
        </p:nvCxnSpPr>
        <p:spPr>
          <a:xfrm flipV="1">
            <a:off x="4477409" y="2488323"/>
            <a:ext cx="1734205" cy="428296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FF23E65-07D9-4D01-A6FC-548F068E43FC}"/>
              </a:ext>
            </a:extLst>
          </p:cNvPr>
          <p:cNvCxnSpPr>
            <a:cxnSpLocks/>
            <a:stCxn id="3" idx="6"/>
            <a:endCxn id="15" idx="2"/>
          </p:cNvCxnSpPr>
          <p:nvPr/>
        </p:nvCxnSpPr>
        <p:spPr>
          <a:xfrm>
            <a:off x="4477409" y="2916619"/>
            <a:ext cx="1744716" cy="4099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0DE3C8A-8CCC-4919-A880-4ACDD90C8598}"/>
              </a:ext>
            </a:extLst>
          </p:cNvPr>
          <p:cNvCxnSpPr>
            <a:cxnSpLocks/>
            <a:stCxn id="3" idx="6"/>
            <a:endCxn id="16" idx="2"/>
          </p:cNvCxnSpPr>
          <p:nvPr/>
        </p:nvCxnSpPr>
        <p:spPr>
          <a:xfrm>
            <a:off x="4477409" y="2916619"/>
            <a:ext cx="1744716" cy="125861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2EF05AF-3E5B-4343-8B5E-0EFF9157C0BD}"/>
              </a:ext>
            </a:extLst>
          </p:cNvPr>
          <p:cNvCxnSpPr>
            <a:cxnSpLocks/>
            <a:stCxn id="4" idx="6"/>
          </p:cNvCxnSpPr>
          <p:nvPr/>
        </p:nvCxnSpPr>
        <p:spPr>
          <a:xfrm>
            <a:off x="4466898" y="3812628"/>
            <a:ext cx="1744717" cy="28640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F31F0FA-276D-4FDF-94D5-02DB4E447FCE}"/>
              </a:ext>
            </a:extLst>
          </p:cNvPr>
          <p:cNvCxnSpPr>
            <a:cxnSpLocks/>
            <a:stCxn id="4" idx="6"/>
            <a:endCxn id="15" idx="2"/>
          </p:cNvCxnSpPr>
          <p:nvPr/>
        </p:nvCxnSpPr>
        <p:spPr>
          <a:xfrm flipV="1">
            <a:off x="4466898" y="3326524"/>
            <a:ext cx="1755227" cy="486104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275ADE1B-E89E-4E8D-A7D6-47C66D145C98}"/>
              </a:ext>
            </a:extLst>
          </p:cNvPr>
          <p:cNvCxnSpPr>
            <a:cxnSpLocks/>
            <a:stCxn id="4" idx="6"/>
            <a:endCxn id="14" idx="2"/>
          </p:cNvCxnSpPr>
          <p:nvPr/>
        </p:nvCxnSpPr>
        <p:spPr>
          <a:xfrm flipV="1">
            <a:off x="4466898" y="2488323"/>
            <a:ext cx="1744716" cy="13243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E73AE435-A45E-43B4-88E4-B9072FCA0060}"/>
              </a:ext>
            </a:extLst>
          </p:cNvPr>
          <p:cNvCxnSpPr>
            <a:cxnSpLocks/>
            <a:stCxn id="5" idx="6"/>
            <a:endCxn id="14" idx="2"/>
          </p:cNvCxnSpPr>
          <p:nvPr/>
        </p:nvCxnSpPr>
        <p:spPr>
          <a:xfrm flipV="1">
            <a:off x="4477408" y="2488323"/>
            <a:ext cx="1734206" cy="22649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0ADDF3BD-5EC8-46A3-B2DE-4938F09DD553}"/>
              </a:ext>
            </a:extLst>
          </p:cNvPr>
          <p:cNvCxnSpPr>
            <a:cxnSpLocks/>
            <a:stCxn id="5" idx="6"/>
            <a:endCxn id="15" idx="2"/>
          </p:cNvCxnSpPr>
          <p:nvPr/>
        </p:nvCxnSpPr>
        <p:spPr>
          <a:xfrm flipV="1">
            <a:off x="4477408" y="3326524"/>
            <a:ext cx="1744717" cy="14267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D30E895-AAAD-4DE1-9E2F-88898B3FB63A}"/>
              </a:ext>
            </a:extLst>
          </p:cNvPr>
          <p:cNvCxnSpPr>
            <a:cxnSpLocks/>
            <a:stCxn id="5" idx="6"/>
            <a:endCxn id="16" idx="2"/>
          </p:cNvCxnSpPr>
          <p:nvPr/>
        </p:nvCxnSpPr>
        <p:spPr>
          <a:xfrm flipV="1">
            <a:off x="4477408" y="4175236"/>
            <a:ext cx="1744717" cy="57806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387620F-9B7E-4881-AFC9-A5C2141743EB}"/>
              </a:ext>
            </a:extLst>
          </p:cNvPr>
          <p:cNvCxnSpPr>
            <a:cxnSpLocks/>
            <a:stCxn id="14" idx="6"/>
          </p:cNvCxnSpPr>
          <p:nvPr/>
        </p:nvCxnSpPr>
        <p:spPr>
          <a:xfrm flipV="1">
            <a:off x="6978870" y="2472558"/>
            <a:ext cx="362605" cy="1576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5BE50B34-A343-4F9A-93DB-E8D8D400FE56}"/>
              </a:ext>
            </a:extLst>
          </p:cNvPr>
          <p:cNvCxnSpPr>
            <a:cxnSpLocks/>
            <a:stCxn id="15" idx="6"/>
          </p:cNvCxnSpPr>
          <p:nvPr/>
        </p:nvCxnSpPr>
        <p:spPr>
          <a:xfrm>
            <a:off x="6989381" y="3326524"/>
            <a:ext cx="352094" cy="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3501160-535C-4518-BD88-BC8BC6FDAEC7}"/>
              </a:ext>
            </a:extLst>
          </p:cNvPr>
          <p:cNvCxnSpPr>
            <a:cxnSpLocks/>
            <a:stCxn id="16" idx="6"/>
          </p:cNvCxnSpPr>
          <p:nvPr/>
        </p:nvCxnSpPr>
        <p:spPr>
          <a:xfrm flipV="1">
            <a:off x="6989381" y="4164725"/>
            <a:ext cx="420412" cy="10511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921082" cy="3996769"/>
            <a:chOff x="2607992" y="1430614"/>
            <a:chExt cx="921082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76529AB-A3ED-4FF3-8628-89240DF805E9}"/>
              </a:ext>
            </a:extLst>
          </p:cNvPr>
          <p:cNvSpPr txBox="1"/>
          <p:nvPr/>
        </p:nvSpPr>
        <p:spPr>
          <a:xfrm>
            <a:off x="7458477" y="2195559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1797D0-DC57-446B-B25B-124BD2775A19}"/>
              </a:ext>
            </a:extLst>
          </p:cNvPr>
          <p:cNvSpPr txBox="1"/>
          <p:nvPr/>
        </p:nvSpPr>
        <p:spPr>
          <a:xfrm>
            <a:off x="7458478" y="3049525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D1991DE-672C-4D50-B58D-459E2C8AC9C4}"/>
              </a:ext>
            </a:extLst>
          </p:cNvPr>
          <p:cNvSpPr txBox="1"/>
          <p:nvPr/>
        </p:nvSpPr>
        <p:spPr>
          <a:xfrm>
            <a:off x="7458478" y="3887726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92C7E9-41C0-4F29-BE84-3030F0221671}"/>
              </a:ext>
            </a:extLst>
          </p:cNvPr>
          <p:cNvSpPr txBox="1"/>
          <p:nvPr/>
        </p:nvSpPr>
        <p:spPr>
          <a:xfrm>
            <a:off x="8341825" y="3017562"/>
            <a:ext cx="304410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= 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2, 0.7, 0.1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C89CA88-6ADD-4445-B270-595B20B937CD}"/>
              </a:ext>
            </a:extLst>
          </p:cNvPr>
          <p:cNvSpPr txBox="1"/>
          <p:nvPr/>
        </p:nvSpPr>
        <p:spPr>
          <a:xfrm>
            <a:off x="8823435" y="3660925"/>
            <a:ext cx="255198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.0, 1.0, 0.0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01D0BC-C34F-4C27-ADA7-1FE9D20C07EE}"/>
              </a:ext>
            </a:extLst>
          </p:cNvPr>
          <p:cNvSpPr txBox="1"/>
          <p:nvPr/>
        </p:nvSpPr>
        <p:spPr>
          <a:xfrm>
            <a:off x="7199587" y="4941410"/>
            <a:ext cx="440184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</a:t>
            </a: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μ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0.2, 0.3, 0.1)</a:t>
            </a:r>
            <a:r>
              <a:rPr kumimoji="0" lang="en-US" sz="3600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C098E-AE2B-4BF7-A1F9-D239CB32C76E}"/>
              </a:ext>
            </a:extLst>
          </p:cNvPr>
          <p:cNvSpPr txBox="1"/>
          <p:nvPr/>
        </p:nvSpPr>
        <p:spPr>
          <a:xfrm>
            <a:off x="7199587" y="4948544"/>
            <a:ext cx="229389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0.04</a:t>
            </a:r>
            <a:endParaRPr kumimoji="0" lang="en-US" sz="3600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3C7A33D-FABA-40DE-9B49-9C8B338369E6}"/>
              </a:ext>
            </a:extLst>
          </p:cNvPr>
          <p:cNvGrpSpPr/>
          <p:nvPr/>
        </p:nvGrpSpPr>
        <p:grpSpPr>
          <a:xfrm>
            <a:off x="3710098" y="1868222"/>
            <a:ext cx="3289861" cy="2953407"/>
            <a:chOff x="3710098" y="1868222"/>
            <a:chExt cx="3289861" cy="295340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3FEF045-DCCE-43F2-8B2C-A5E0CE4F851F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BE4C8F9-5AB3-4211-8C1D-B71A7636DEEC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ACD602A-6075-4736-AB18-548B4F084770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A305AE8-0B62-404D-9EEE-B098BAB8CEF5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3FEFD5-3960-4367-A014-4D5EDFFBE822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C746EED-7F75-4279-BDBC-404524CD26D4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2148B10-44D9-4D6D-BC36-C6612AFF7BFC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7DDACFD-EEE1-462E-B0D0-1FA7DB5F17D5}"/>
              </a:ext>
            </a:extLst>
          </p:cNvPr>
          <p:cNvGrpSpPr/>
          <p:nvPr/>
        </p:nvGrpSpPr>
        <p:grpSpPr>
          <a:xfrm>
            <a:off x="3710098" y="1871939"/>
            <a:ext cx="3289861" cy="2953407"/>
            <a:chOff x="3710098" y="1868222"/>
            <a:chExt cx="3289861" cy="295340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F767DB9-607A-4FE4-BF5E-7027D4BE473D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FA26381-8325-45C1-8D93-7FA86566661A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AB7C208-838A-4BFC-94B3-88AD601990E3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2822351-4C1F-4A38-AA38-79AC965C3E90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63B8E27-3B6C-4B6F-9371-B215ACE9C48D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7152785-B0D9-4505-A341-5E9A916F46FE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DEEBC32-1509-4C81-823E-593D96D64084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4E1D5380-B226-4936-BC3A-E2FE5DAB2A28}"/>
              </a:ext>
            </a:extLst>
          </p:cNvPr>
          <p:cNvSpPr txBox="1"/>
          <p:nvPr/>
        </p:nvSpPr>
        <p:spPr>
          <a:xfrm>
            <a:off x="4409825" y="601979"/>
            <a:ext cx="474941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ckpropagation</a:t>
            </a:r>
          </a:p>
        </p:txBody>
      </p:sp>
    </p:spTree>
    <p:extLst>
      <p:ext uri="{BB962C8B-B14F-4D97-AF65-F5344CB8AC3E}">
        <p14:creationId xmlns:p14="http://schemas.microsoft.com/office/powerpoint/2010/main" val="22994430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  <p:bldP spid="28" grpId="0"/>
      <p:bldP spid="29" grpId="0"/>
      <p:bldP spid="31" grpId="0"/>
      <p:bldP spid="31" grpId="1"/>
      <p:bldP spid="32" grpId="0"/>
      <p:bldP spid="5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24D6F81A-0D65-495C-AF85-8CD465E62844}"/>
              </a:ext>
            </a:extLst>
          </p:cNvPr>
          <p:cNvSpPr/>
          <p:nvPr/>
        </p:nvSpPr>
        <p:spPr bwMode="auto">
          <a:xfrm>
            <a:off x="3699642" y="159231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45CF4F1-F6B7-46DA-BEB4-E8D3ECFAB3E3}"/>
              </a:ext>
            </a:extLst>
          </p:cNvPr>
          <p:cNvSpPr/>
          <p:nvPr/>
        </p:nvSpPr>
        <p:spPr bwMode="auto">
          <a:xfrm>
            <a:off x="3710153" y="2532991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70D0C98-44F6-46EC-BFD8-2F32FF9A3526}"/>
              </a:ext>
            </a:extLst>
          </p:cNvPr>
          <p:cNvSpPr/>
          <p:nvPr/>
        </p:nvSpPr>
        <p:spPr bwMode="auto">
          <a:xfrm>
            <a:off x="3699642" y="3429000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2E72C10-C0BF-45AB-A715-14229AD99EF7}"/>
              </a:ext>
            </a:extLst>
          </p:cNvPr>
          <p:cNvSpPr/>
          <p:nvPr/>
        </p:nvSpPr>
        <p:spPr bwMode="auto">
          <a:xfrm>
            <a:off x="3710152" y="436967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AB187F6-EDC8-4346-9FB9-EDB01598A784}"/>
              </a:ext>
            </a:extLst>
          </p:cNvPr>
          <p:cNvSpPr/>
          <p:nvPr/>
        </p:nvSpPr>
        <p:spPr bwMode="auto">
          <a:xfrm>
            <a:off x="6211614" y="2104695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ED911FB-571B-4AD6-808B-7A0388D61EC9}"/>
              </a:ext>
            </a:extLst>
          </p:cNvPr>
          <p:cNvSpPr/>
          <p:nvPr/>
        </p:nvSpPr>
        <p:spPr bwMode="auto">
          <a:xfrm>
            <a:off x="6222125" y="2942896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3EFFFE-B846-46BF-9F90-3DF1CDED233F}"/>
              </a:ext>
            </a:extLst>
          </p:cNvPr>
          <p:cNvSpPr/>
          <p:nvPr/>
        </p:nvSpPr>
        <p:spPr bwMode="auto">
          <a:xfrm>
            <a:off x="6222125" y="3791608"/>
            <a:ext cx="767256" cy="767256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C50213A-D578-402E-B7E5-E0F24216C905}"/>
              </a:ext>
            </a:extLst>
          </p:cNvPr>
          <p:cNvCxnSpPr>
            <a:cxnSpLocks/>
            <a:stCxn id="2" idx="6"/>
            <a:endCxn id="14" idx="2"/>
          </p:cNvCxnSpPr>
          <p:nvPr/>
        </p:nvCxnSpPr>
        <p:spPr>
          <a:xfrm>
            <a:off x="4466898" y="1975944"/>
            <a:ext cx="1744716" cy="5123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7E7231D-955A-42E0-A8B1-2F509592E892}"/>
              </a:ext>
            </a:extLst>
          </p:cNvPr>
          <p:cNvCxnSpPr>
            <a:cxnSpLocks/>
            <a:stCxn id="2" idx="6"/>
            <a:endCxn id="15" idx="2"/>
          </p:cNvCxnSpPr>
          <p:nvPr/>
        </p:nvCxnSpPr>
        <p:spPr>
          <a:xfrm>
            <a:off x="4466898" y="1975944"/>
            <a:ext cx="1755227" cy="13505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E8C49BD-30FF-4DFD-9B41-F1F783275704}"/>
              </a:ext>
            </a:extLst>
          </p:cNvPr>
          <p:cNvCxnSpPr>
            <a:cxnSpLocks/>
            <a:stCxn id="2" idx="6"/>
            <a:endCxn id="16" idx="2"/>
          </p:cNvCxnSpPr>
          <p:nvPr/>
        </p:nvCxnSpPr>
        <p:spPr>
          <a:xfrm>
            <a:off x="4466898" y="1975944"/>
            <a:ext cx="1755227" cy="2199292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6413AA7B-CB95-4C17-83C1-5CF79CF4ACD1}"/>
              </a:ext>
            </a:extLst>
          </p:cNvPr>
          <p:cNvCxnSpPr>
            <a:cxnSpLocks/>
            <a:stCxn id="3" idx="6"/>
            <a:endCxn id="14" idx="2"/>
          </p:cNvCxnSpPr>
          <p:nvPr/>
        </p:nvCxnSpPr>
        <p:spPr>
          <a:xfrm flipV="1">
            <a:off x="4477409" y="2488323"/>
            <a:ext cx="1734205" cy="428296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FF23E65-07D9-4D01-A6FC-548F068E43FC}"/>
              </a:ext>
            </a:extLst>
          </p:cNvPr>
          <p:cNvCxnSpPr>
            <a:cxnSpLocks/>
            <a:stCxn id="3" idx="6"/>
            <a:endCxn id="15" idx="2"/>
          </p:cNvCxnSpPr>
          <p:nvPr/>
        </p:nvCxnSpPr>
        <p:spPr>
          <a:xfrm>
            <a:off x="4477409" y="2916619"/>
            <a:ext cx="1744716" cy="4099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0DE3C8A-8CCC-4919-A880-4ACDD90C8598}"/>
              </a:ext>
            </a:extLst>
          </p:cNvPr>
          <p:cNvCxnSpPr>
            <a:cxnSpLocks/>
            <a:stCxn id="3" idx="6"/>
            <a:endCxn id="16" idx="2"/>
          </p:cNvCxnSpPr>
          <p:nvPr/>
        </p:nvCxnSpPr>
        <p:spPr>
          <a:xfrm>
            <a:off x="4477409" y="2916619"/>
            <a:ext cx="1744716" cy="125861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2EF05AF-3E5B-4343-8B5E-0EFF9157C0BD}"/>
              </a:ext>
            </a:extLst>
          </p:cNvPr>
          <p:cNvCxnSpPr>
            <a:cxnSpLocks/>
            <a:stCxn id="4" idx="6"/>
          </p:cNvCxnSpPr>
          <p:nvPr/>
        </p:nvCxnSpPr>
        <p:spPr>
          <a:xfrm>
            <a:off x="4466898" y="3812628"/>
            <a:ext cx="1744717" cy="28640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F31F0FA-276D-4FDF-94D5-02DB4E447FCE}"/>
              </a:ext>
            </a:extLst>
          </p:cNvPr>
          <p:cNvCxnSpPr>
            <a:cxnSpLocks/>
            <a:stCxn id="4" idx="6"/>
            <a:endCxn id="15" idx="2"/>
          </p:cNvCxnSpPr>
          <p:nvPr/>
        </p:nvCxnSpPr>
        <p:spPr>
          <a:xfrm flipV="1">
            <a:off x="4466898" y="3326524"/>
            <a:ext cx="1755227" cy="486104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275ADE1B-E89E-4E8D-A7D6-47C66D145C98}"/>
              </a:ext>
            </a:extLst>
          </p:cNvPr>
          <p:cNvCxnSpPr>
            <a:cxnSpLocks/>
            <a:stCxn id="4" idx="6"/>
            <a:endCxn id="14" idx="2"/>
          </p:cNvCxnSpPr>
          <p:nvPr/>
        </p:nvCxnSpPr>
        <p:spPr>
          <a:xfrm flipV="1">
            <a:off x="4466898" y="2488323"/>
            <a:ext cx="1744716" cy="132430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E73AE435-A45E-43B4-88E4-B9072FCA0060}"/>
              </a:ext>
            </a:extLst>
          </p:cNvPr>
          <p:cNvCxnSpPr>
            <a:cxnSpLocks/>
            <a:stCxn id="5" idx="6"/>
            <a:endCxn id="14" idx="2"/>
          </p:cNvCxnSpPr>
          <p:nvPr/>
        </p:nvCxnSpPr>
        <p:spPr>
          <a:xfrm flipV="1">
            <a:off x="4477408" y="2488323"/>
            <a:ext cx="1734206" cy="226498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0ADDF3BD-5EC8-46A3-B2DE-4938F09DD553}"/>
              </a:ext>
            </a:extLst>
          </p:cNvPr>
          <p:cNvCxnSpPr>
            <a:cxnSpLocks/>
            <a:stCxn id="5" idx="6"/>
            <a:endCxn id="15" idx="2"/>
          </p:cNvCxnSpPr>
          <p:nvPr/>
        </p:nvCxnSpPr>
        <p:spPr>
          <a:xfrm flipV="1">
            <a:off x="4477408" y="3326524"/>
            <a:ext cx="1744717" cy="1426779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D30E895-AAAD-4DE1-9E2F-88898B3FB63A}"/>
              </a:ext>
            </a:extLst>
          </p:cNvPr>
          <p:cNvCxnSpPr>
            <a:cxnSpLocks/>
            <a:stCxn id="5" idx="6"/>
            <a:endCxn id="16" idx="2"/>
          </p:cNvCxnSpPr>
          <p:nvPr/>
        </p:nvCxnSpPr>
        <p:spPr>
          <a:xfrm flipV="1">
            <a:off x="4477408" y="4175236"/>
            <a:ext cx="1744717" cy="578067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387620F-9B7E-4881-AFC9-A5C2141743EB}"/>
              </a:ext>
            </a:extLst>
          </p:cNvPr>
          <p:cNvCxnSpPr>
            <a:cxnSpLocks/>
            <a:stCxn id="14" idx="6"/>
          </p:cNvCxnSpPr>
          <p:nvPr/>
        </p:nvCxnSpPr>
        <p:spPr>
          <a:xfrm flipV="1">
            <a:off x="6978870" y="2472558"/>
            <a:ext cx="362605" cy="15765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5BE50B34-A343-4F9A-93DB-E8D8D400FE56}"/>
              </a:ext>
            </a:extLst>
          </p:cNvPr>
          <p:cNvCxnSpPr>
            <a:cxnSpLocks/>
            <a:stCxn id="15" idx="6"/>
          </p:cNvCxnSpPr>
          <p:nvPr/>
        </p:nvCxnSpPr>
        <p:spPr>
          <a:xfrm>
            <a:off x="6989381" y="3326524"/>
            <a:ext cx="352094" cy="0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3501160-535C-4518-BD88-BC8BC6FDAEC7}"/>
              </a:ext>
            </a:extLst>
          </p:cNvPr>
          <p:cNvCxnSpPr>
            <a:cxnSpLocks/>
            <a:stCxn id="16" idx="6"/>
          </p:cNvCxnSpPr>
          <p:nvPr/>
        </p:nvCxnSpPr>
        <p:spPr>
          <a:xfrm flipV="1">
            <a:off x="6989381" y="4164725"/>
            <a:ext cx="420412" cy="10511"/>
          </a:xfrm>
          <a:prstGeom prst="straightConnector1">
            <a:avLst/>
          </a:prstGeom>
          <a:ln w="5715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921082" cy="3996769"/>
            <a:chOff x="2607992" y="1430614"/>
            <a:chExt cx="921082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4869CFA-D559-4DB2-9AB0-38856953BD77}"/>
              </a:ext>
            </a:extLst>
          </p:cNvPr>
          <p:cNvGrpSpPr/>
          <p:nvPr/>
        </p:nvGrpSpPr>
        <p:grpSpPr>
          <a:xfrm>
            <a:off x="7458477" y="2195559"/>
            <a:ext cx="596318" cy="2246165"/>
            <a:chOff x="7458477" y="2195559"/>
            <a:chExt cx="596318" cy="224616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76529AB-A3ED-4FF3-8628-89240DF805E9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51797D0-DC57-446B-B25B-124BD2775A19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7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D1991DE-672C-4D50-B58D-459E2C8AC9C4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7DDACFD-EEE1-462E-B0D0-1FA7DB5F17D5}"/>
              </a:ext>
            </a:extLst>
          </p:cNvPr>
          <p:cNvGrpSpPr/>
          <p:nvPr/>
        </p:nvGrpSpPr>
        <p:grpSpPr>
          <a:xfrm>
            <a:off x="3710098" y="1871939"/>
            <a:ext cx="3289861" cy="2953407"/>
            <a:chOff x="3710098" y="1868222"/>
            <a:chExt cx="3289861" cy="295340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F767DB9-607A-4FE4-BF5E-7027D4BE473D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FA26381-8325-45C1-8D93-7FA86566661A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AB7C208-838A-4BFC-94B3-88AD601990E3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2822351-4C1F-4A38-AA38-79AC965C3E90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63B8E27-3B6C-4B6F-9371-B215ACE9C48D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7152785-B0D9-4505-A341-5E9A916F46FE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DEEBC32-1509-4C81-823E-593D96D64084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FF19B13-C5D2-4187-B324-EAD6B7239063}"/>
              </a:ext>
            </a:extLst>
          </p:cNvPr>
          <p:cNvGrpSpPr/>
          <p:nvPr/>
        </p:nvGrpSpPr>
        <p:grpSpPr>
          <a:xfrm>
            <a:off x="2615673" y="1430614"/>
            <a:ext cx="921082" cy="3996769"/>
            <a:chOff x="2607992" y="1430614"/>
            <a:chExt cx="921082" cy="399676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8C542A3-54EF-4A93-8A3A-7FED6E55CC6B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9</a:t>
              </a:r>
            </a:p>
          </p:txBody>
        </p:sp>
        <p:sp>
          <p:nvSpPr>
            <p:cNvPr id="58" name="Double Bracket 57">
              <a:extLst>
                <a:ext uri="{FF2B5EF4-FFF2-40B4-BE49-F238E27FC236}">
                  <a16:creationId xmlns:a16="http://schemas.microsoft.com/office/drawing/2014/main" id="{76813097-D0EA-4043-84E4-044234B1D74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DD52356-686E-48F3-A19F-1E9B448FD46D}"/>
              </a:ext>
            </a:extLst>
          </p:cNvPr>
          <p:cNvGrpSpPr/>
          <p:nvPr/>
        </p:nvGrpSpPr>
        <p:grpSpPr>
          <a:xfrm>
            <a:off x="2619521" y="1430614"/>
            <a:ext cx="921082" cy="4414432"/>
            <a:chOff x="2607992" y="1430614"/>
            <a:chExt cx="921082" cy="4414432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22DDA9C-9F78-41E1-80CE-CCD4C10738C1}"/>
                </a:ext>
              </a:extLst>
            </p:cNvPr>
            <p:cNvSpPr/>
            <p:nvPr/>
          </p:nvSpPr>
          <p:spPr>
            <a:xfrm>
              <a:off x="2613248" y="1505396"/>
              <a:ext cx="849913" cy="4339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Double Bracket 62">
              <a:extLst>
                <a:ext uri="{FF2B5EF4-FFF2-40B4-BE49-F238E27FC236}">
                  <a16:creationId xmlns:a16="http://schemas.microsoft.com/office/drawing/2014/main" id="{DA35A11C-6450-447F-BA9D-5096B7E67F53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DDD2700-E76B-4FB0-8A23-DA15DAAF911A}"/>
              </a:ext>
            </a:extLst>
          </p:cNvPr>
          <p:cNvGrpSpPr/>
          <p:nvPr/>
        </p:nvGrpSpPr>
        <p:grpSpPr>
          <a:xfrm>
            <a:off x="7458476" y="2207722"/>
            <a:ext cx="596318" cy="2246165"/>
            <a:chOff x="7458477" y="2195559"/>
            <a:chExt cx="596318" cy="224616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875F84F-0AB4-4423-9980-61026144C41E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2734F68-244A-4473-AFB0-280ABA2543D3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EEA8FCB-9870-46D1-8BE0-7418F88BA85D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E9791E7F-397E-493C-873E-1ABB012460E5}"/>
              </a:ext>
            </a:extLst>
          </p:cNvPr>
          <p:cNvGrpSpPr/>
          <p:nvPr/>
        </p:nvGrpSpPr>
        <p:grpSpPr>
          <a:xfrm>
            <a:off x="7458475" y="2201484"/>
            <a:ext cx="596318" cy="2246165"/>
            <a:chOff x="7458477" y="2195559"/>
            <a:chExt cx="596318" cy="2246165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A08895A-C7D0-45E1-B8C5-7820842D085D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6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AA1DE293-EE8D-4855-9ED7-BFE9FC42D3B1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3A03931-3749-4A0C-8BFC-FFC0C7A2C7F5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2D2E606-A840-41A1-B65E-C151CC9508F2}"/>
              </a:ext>
            </a:extLst>
          </p:cNvPr>
          <p:cNvGrpSpPr/>
          <p:nvPr/>
        </p:nvGrpSpPr>
        <p:grpSpPr>
          <a:xfrm>
            <a:off x="2601262" y="1413301"/>
            <a:ext cx="921082" cy="3996769"/>
            <a:chOff x="2607992" y="1430614"/>
            <a:chExt cx="921082" cy="3996769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6EDD3AF-7F1E-4980-BA0A-A383285DB5A1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.7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1</a:t>
              </a:r>
            </a:p>
          </p:txBody>
        </p:sp>
        <p:sp>
          <p:nvSpPr>
            <p:cNvPr id="80" name="Double Bracket 79">
              <a:extLst>
                <a:ext uri="{FF2B5EF4-FFF2-40B4-BE49-F238E27FC236}">
                  <a16:creationId xmlns:a16="http://schemas.microsoft.com/office/drawing/2014/main" id="{2BF6095D-52D2-470A-8336-3B337923674B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164CF53-70EF-4D0D-BCAC-231ED8963237}"/>
              </a:ext>
            </a:extLst>
          </p:cNvPr>
          <p:cNvGrpSpPr/>
          <p:nvPr/>
        </p:nvGrpSpPr>
        <p:grpSpPr>
          <a:xfrm>
            <a:off x="7456967" y="2202008"/>
            <a:ext cx="596318" cy="2246165"/>
            <a:chOff x="7458477" y="2195559"/>
            <a:chExt cx="596318" cy="2246165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2AB0DC4-3E46-471C-846E-FCD26C77ACBF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61B1900-1917-4BDD-B491-724BF3695441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59CC56DF-DAE8-43F2-A94A-087399B60BC9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9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860704D-9008-4D01-B897-A3082ECF62BC}"/>
              </a:ext>
            </a:extLst>
          </p:cNvPr>
          <p:cNvGrpSpPr/>
          <p:nvPr/>
        </p:nvGrpSpPr>
        <p:grpSpPr>
          <a:xfrm>
            <a:off x="8141772" y="2201222"/>
            <a:ext cx="596318" cy="2246165"/>
            <a:chOff x="7458477" y="2195559"/>
            <a:chExt cx="596318" cy="2246165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807EE5C-7CE2-445F-AB9A-9217A8053F86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6F48E18-A197-4659-A28C-69A80A036682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3CE9CA9-359B-4B7A-B901-C82F6840D1DB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0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7B537D5F-A228-4671-9427-39C321AA3D54}"/>
              </a:ext>
            </a:extLst>
          </p:cNvPr>
          <p:cNvSpPr txBox="1"/>
          <p:nvPr/>
        </p:nvSpPr>
        <p:spPr>
          <a:xfrm>
            <a:off x="8752149" y="3600214"/>
            <a:ext cx="706925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Wingdings 2" panose="05020102010507070707" pitchFamily="18" charset="2"/>
              </a:rPr>
              <a:t>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442D5A14-6A26-4485-A226-A8DDEE722819}"/>
              </a:ext>
            </a:extLst>
          </p:cNvPr>
          <p:cNvGrpSpPr/>
          <p:nvPr/>
        </p:nvGrpSpPr>
        <p:grpSpPr>
          <a:xfrm>
            <a:off x="3711474" y="1875992"/>
            <a:ext cx="3289861" cy="2953407"/>
            <a:chOff x="3710098" y="1868222"/>
            <a:chExt cx="3289861" cy="2953407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4FA599F8-7D15-4265-87AD-D6209227210B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52A237B-038A-408C-A184-F443EE252856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C1BA1890-0875-4F05-BAEF-980AB2937059}"/>
                </a:ext>
              </a:extLst>
            </p:cNvPr>
            <p:cNvSpPr txBox="1"/>
            <p:nvPr/>
          </p:nvSpPr>
          <p:spPr>
            <a:xfrm>
              <a:off x="372592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10DBF4CD-F92D-4720-9265-CD741C632B1D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9C19EB32-C2EA-4BDF-8874-38ED58D6177C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7B1B41D-A685-45A1-8252-3567F784F72C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0DFC552-C9A7-4CA6-BB17-3B7972175A0E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5380586-6992-43BA-A927-1B3ABA606DF0}"/>
              </a:ext>
            </a:extLst>
          </p:cNvPr>
          <p:cNvSpPr txBox="1"/>
          <p:nvPr/>
        </p:nvSpPr>
        <p:spPr>
          <a:xfrm>
            <a:off x="4425657" y="576194"/>
            <a:ext cx="2152256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ining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D080E8D-CAE7-4AE4-9C9C-681B425804C3}"/>
              </a:ext>
            </a:extLst>
          </p:cNvPr>
          <p:cNvSpPr txBox="1"/>
          <p:nvPr/>
        </p:nvSpPr>
        <p:spPr>
          <a:xfrm>
            <a:off x="4409825" y="601979"/>
            <a:ext cx="269963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alidation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26DD274C-C7C3-436D-A3BC-54FE03270C53}"/>
              </a:ext>
            </a:extLst>
          </p:cNvPr>
          <p:cNvGrpSpPr/>
          <p:nvPr/>
        </p:nvGrpSpPr>
        <p:grpSpPr>
          <a:xfrm>
            <a:off x="8145320" y="2193602"/>
            <a:ext cx="596318" cy="2246165"/>
            <a:chOff x="7458477" y="2195559"/>
            <a:chExt cx="596318" cy="2246165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57EDB8C3-8DCF-447D-8C63-C7873F8BC31C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00F83142-7E49-4CC7-BA06-C1590A6833C8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0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3ABD459A-2ECC-4E16-A9EB-319527CE625B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B8C7FF0D-BF0D-4AFA-9387-E071A38781A4}"/>
              </a:ext>
            </a:extLst>
          </p:cNvPr>
          <p:cNvGrpSpPr/>
          <p:nvPr/>
        </p:nvGrpSpPr>
        <p:grpSpPr>
          <a:xfrm>
            <a:off x="8154359" y="2185704"/>
            <a:ext cx="596318" cy="2246165"/>
            <a:chOff x="7458477" y="2195559"/>
            <a:chExt cx="596318" cy="2246165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C1BD3D4-BD57-45C7-8BA1-938EDB830202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C1C8B0C1-2162-480B-8762-21326208D329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85EED495-0C87-4ADF-893A-43835DC14ADC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9B80B9F-26FF-4B22-9B64-2934B02AF8AB}"/>
              </a:ext>
            </a:extLst>
          </p:cNvPr>
          <p:cNvGrpSpPr/>
          <p:nvPr/>
        </p:nvGrpSpPr>
        <p:grpSpPr>
          <a:xfrm>
            <a:off x="8152874" y="2209366"/>
            <a:ext cx="596318" cy="2246165"/>
            <a:chOff x="7458477" y="2195559"/>
            <a:chExt cx="596318" cy="2246165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B81699E-82F0-4301-9AC3-4FCDFC53D8B9}"/>
                </a:ext>
              </a:extLst>
            </p:cNvPr>
            <p:cNvSpPr txBox="1"/>
            <p:nvPr/>
          </p:nvSpPr>
          <p:spPr>
            <a:xfrm>
              <a:off x="7458477" y="2195559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0DAF53C-EF64-428B-9091-92F29B351FD8}"/>
                </a:ext>
              </a:extLst>
            </p:cNvPr>
            <p:cNvSpPr txBox="1"/>
            <p:nvPr/>
          </p:nvSpPr>
          <p:spPr>
            <a:xfrm>
              <a:off x="7458478" y="3049525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ADAC4EB8-CDB4-4BA2-B42C-9FDA0F43403E}"/>
                </a:ext>
              </a:extLst>
            </p:cNvPr>
            <p:cNvSpPr txBox="1"/>
            <p:nvPr/>
          </p:nvSpPr>
          <p:spPr>
            <a:xfrm>
              <a:off x="7458478" y="3887726"/>
              <a:ext cx="596317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2FA653F9-7DAE-43F5-9369-C57B25462D7D}"/>
              </a:ext>
            </a:extLst>
          </p:cNvPr>
          <p:cNvSpPr txBox="1"/>
          <p:nvPr/>
        </p:nvSpPr>
        <p:spPr>
          <a:xfrm>
            <a:off x="7455459" y="3010603"/>
            <a:ext cx="471924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</a:t>
            </a:r>
            <a:r>
              <a:rPr kumimoji="0" lang="el-GR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μ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[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c</a:t>
            </a:r>
            <a:r>
              <a:rPr kumimoji="0" lang="en-US" sz="4000" b="0" i="1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1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c</a:t>
            </a:r>
            <a:r>
              <a:rPr kumimoji="0" lang="en-US" sz="4000" b="0" i="1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2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</a:t>
            </a:r>
            <a:r>
              <a:rPr kumimoji="0" lang="en-US" sz="4000" b="0" i="1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c</a:t>
            </a:r>
            <a:r>
              <a:rPr kumimoji="0" lang="en-US" sz="4000" b="0" i="1" u="none" strike="noStrike" kern="1200" cap="none" spc="0" normalizeH="0" baseline="-25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Bell MT" panose="02020503060305020303" pitchFamily="18" charset="0"/>
                <a:ea typeface="+mn-ea"/>
                <a:cs typeface="+mn-cs"/>
              </a:rPr>
              <a:t>3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…])</a:t>
            </a:r>
            <a:r>
              <a:rPr kumimoji="0" lang="en-US" sz="4000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44BA175-F292-4F12-85D5-9CB20F5C2E6C}"/>
              </a:ext>
            </a:extLst>
          </p:cNvPr>
          <p:cNvSpPr txBox="1"/>
          <p:nvPr/>
        </p:nvSpPr>
        <p:spPr>
          <a:xfrm>
            <a:off x="3626518" y="579683"/>
            <a:ext cx="47969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ckpropagation</a:t>
            </a:r>
          </a:p>
        </p:txBody>
      </p:sp>
    </p:spTree>
    <p:extLst>
      <p:ext uri="{BB962C8B-B14F-4D97-AF65-F5344CB8AC3E}">
        <p14:creationId xmlns:p14="http://schemas.microsoft.com/office/powerpoint/2010/main" val="10451231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0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500"/>
                            </p:stCondLst>
                            <p:childTnLst>
                              <p:par>
                                <p:cTn id="5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500"/>
                            </p:stCondLst>
                            <p:childTnLst>
                              <p:par>
                                <p:cTn id="6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000"/>
                            </p:stCondLst>
                            <p:childTnLst>
                              <p:par>
                                <p:cTn id="9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3" grpId="1"/>
      <p:bldP spid="102" grpId="0"/>
      <p:bldP spid="115" grpId="0"/>
      <p:bldP spid="115" grpId="1"/>
      <p:bldP spid="116" grpId="0"/>
      <p:bldP spid="116" grpId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2804836" cy="3996769"/>
            <a:chOff x="2607992" y="1430614"/>
            <a:chExt cx="2804836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2804836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82E37EB-0997-4158-B9E3-F9EC1F4F8B78}"/>
                </a:ext>
              </a:extLst>
            </p:cNvPr>
            <p:cNvSpPr/>
            <p:nvPr/>
          </p:nvSpPr>
          <p:spPr>
            <a:xfrm>
              <a:off x="3585453" y="1505394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.9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E00D59-E31F-400C-9DC6-688E296E599D}"/>
                </a:ext>
              </a:extLst>
            </p:cNvPr>
            <p:cNvSpPr/>
            <p:nvPr/>
          </p:nvSpPr>
          <p:spPr>
            <a:xfrm>
              <a:off x="4557658" y="1505392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3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666F462-87E6-41E5-9DCE-3957CB972E87}"/>
              </a:ext>
            </a:extLst>
          </p:cNvPr>
          <p:cNvGrpSpPr/>
          <p:nvPr/>
        </p:nvGrpSpPr>
        <p:grpSpPr>
          <a:xfrm>
            <a:off x="6041527" y="1430614"/>
            <a:ext cx="921082" cy="3996769"/>
            <a:chOff x="2607992" y="1430614"/>
            <a:chExt cx="921082" cy="399676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6DCF47A-AAAE-4839-9EC9-62E33172EF25}"/>
                </a:ext>
              </a:extLst>
            </p:cNvPr>
            <p:cNvSpPr/>
            <p:nvPr/>
          </p:nvSpPr>
          <p:spPr>
            <a:xfrm>
              <a:off x="2613248" y="1505396"/>
              <a:ext cx="849913" cy="37240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4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9</a:t>
              </a:r>
            </a:p>
          </p:txBody>
        </p:sp>
        <p:sp>
          <p:nvSpPr>
            <p:cNvPr id="46" name="Double Bracket 45">
              <a:extLst>
                <a:ext uri="{FF2B5EF4-FFF2-40B4-BE49-F238E27FC236}">
                  <a16:creationId xmlns:a16="http://schemas.microsoft.com/office/drawing/2014/main" id="{DEB373B9-1421-430F-A988-684259F0B507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5CADBE7-CE85-4002-8E8F-290909E419A1}"/>
              </a:ext>
            </a:extLst>
          </p:cNvPr>
          <p:cNvGrpSpPr/>
          <p:nvPr/>
        </p:nvGrpSpPr>
        <p:grpSpPr>
          <a:xfrm>
            <a:off x="7507720" y="1430614"/>
            <a:ext cx="921082" cy="3996769"/>
            <a:chOff x="2607992" y="1430614"/>
            <a:chExt cx="921082" cy="3996769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53E2646-F78E-4508-B04F-0EBB665C7FF1}"/>
                </a:ext>
              </a:extLst>
            </p:cNvPr>
            <p:cNvSpPr/>
            <p:nvPr/>
          </p:nvSpPr>
          <p:spPr>
            <a:xfrm>
              <a:off x="2613248" y="1505396"/>
              <a:ext cx="849913" cy="37240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1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3</a:t>
              </a:r>
            </a:p>
          </p:txBody>
        </p:sp>
        <p:sp>
          <p:nvSpPr>
            <p:cNvPr id="49" name="Double Bracket 48">
              <a:extLst>
                <a:ext uri="{FF2B5EF4-FFF2-40B4-BE49-F238E27FC236}">
                  <a16:creationId xmlns:a16="http://schemas.microsoft.com/office/drawing/2014/main" id="{A0202386-2B2C-47DF-8EC8-00747E09A0D8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87F8E3CC-50AC-49A7-B735-26CE43A4F21D}"/>
              </a:ext>
            </a:extLst>
          </p:cNvPr>
          <p:cNvSpPr/>
          <p:nvPr/>
        </p:nvSpPr>
        <p:spPr>
          <a:xfrm>
            <a:off x="3692052" y="129044"/>
            <a:ext cx="63671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AFB93B-6EFF-4238-BFA8-4322B5D1DC25}"/>
              </a:ext>
            </a:extLst>
          </p:cNvPr>
          <p:cNvSpPr/>
          <p:nvPr/>
        </p:nvSpPr>
        <p:spPr>
          <a:xfrm>
            <a:off x="5986942" y="129045"/>
            <a:ext cx="81945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w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1159A21-0A6C-4360-83AD-005947D8477F}"/>
              </a:ext>
            </a:extLst>
          </p:cNvPr>
          <p:cNvSpPr/>
          <p:nvPr/>
        </p:nvSpPr>
        <p:spPr>
          <a:xfrm>
            <a:off x="7653238" y="129044"/>
            <a:ext cx="56938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b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EFE2A0-2812-4F40-87D0-D5C46B5F33AE}"/>
              </a:ext>
            </a:extLst>
          </p:cNvPr>
          <p:cNvSpPr txBox="1"/>
          <p:nvPr/>
        </p:nvSpPr>
        <p:spPr>
          <a:xfrm>
            <a:off x="5644622" y="3152000"/>
            <a:ext cx="21159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910D274-EE3D-4ECC-85D6-E02394F37467}"/>
              </a:ext>
            </a:extLst>
          </p:cNvPr>
          <p:cNvSpPr txBox="1"/>
          <p:nvPr/>
        </p:nvSpPr>
        <p:spPr>
          <a:xfrm>
            <a:off x="7071774" y="3152000"/>
            <a:ext cx="3157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1079058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52" grpId="0"/>
      <p:bldP spid="53" grpId="0"/>
      <p:bldP spid="11" grpId="0"/>
      <p:bldP spid="5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close up of a purple flower&#10;&#10;Description automatically generated">
            <a:extLst>
              <a:ext uri="{FF2B5EF4-FFF2-40B4-BE49-F238E27FC236}">
                <a16:creationId xmlns:a16="http://schemas.microsoft.com/office/drawing/2014/main" id="{C21A95C8-C123-4BC7-82EA-97BC02CE8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672673" y="1855213"/>
            <a:ext cx="3365588" cy="2671102"/>
          </a:xfrm>
          <a:prstGeom prst="rect">
            <a:avLst/>
          </a:prstGeom>
        </p:spPr>
      </p:pic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1BE2DCF6-8B3C-4A62-BEBD-823EF042897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683538" y="1849337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2B86B5B4-614D-45CC-B3AD-38C28BECB7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677867" y="1845623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F2192BBF-8BD2-4A6F-B794-6E86871CA8C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04719" y="2027439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D2383361-501D-45D1-BCC3-2565C973625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320933" y="2305994"/>
          <a:ext cx="3365586" cy="26769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93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60931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446163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95707" marR="95707" marT="47853" marB="47853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5F5EE9C5-D795-4440-A33B-C15636C018EB}"/>
              </a:ext>
            </a:extLst>
          </p:cNvPr>
          <p:cNvGrpSpPr/>
          <p:nvPr/>
        </p:nvGrpSpPr>
        <p:grpSpPr>
          <a:xfrm>
            <a:off x="6385036" y="1550275"/>
            <a:ext cx="4387872" cy="3544615"/>
            <a:chOff x="6385036" y="1550275"/>
            <a:chExt cx="4387872" cy="354461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4D6F81A-0D65-495C-AF85-8CD465E62844}"/>
                </a:ext>
              </a:extLst>
            </p:cNvPr>
            <p:cNvSpPr/>
            <p:nvPr/>
          </p:nvSpPr>
          <p:spPr bwMode="auto">
            <a:xfrm>
              <a:off x="6385036" y="155027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45CF4F1-F6B7-46DA-BEB4-E8D3ECFAB3E3}"/>
                </a:ext>
              </a:extLst>
            </p:cNvPr>
            <p:cNvSpPr/>
            <p:nvPr/>
          </p:nvSpPr>
          <p:spPr bwMode="auto">
            <a:xfrm>
              <a:off x="6395547" y="2490950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70D0C98-44F6-46EC-BFD8-2F32FF9A3526}"/>
                </a:ext>
              </a:extLst>
            </p:cNvPr>
            <p:cNvSpPr/>
            <p:nvPr/>
          </p:nvSpPr>
          <p:spPr bwMode="auto">
            <a:xfrm>
              <a:off x="6385036" y="3386959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2E72C10-C0BF-45AB-A715-14229AD99EF7}"/>
                </a:ext>
              </a:extLst>
            </p:cNvPr>
            <p:cNvSpPr/>
            <p:nvPr/>
          </p:nvSpPr>
          <p:spPr bwMode="auto">
            <a:xfrm>
              <a:off x="6395546" y="432763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AB187F6-EDC8-4346-9FB9-EDB01598A784}"/>
                </a:ext>
              </a:extLst>
            </p:cNvPr>
            <p:cNvSpPr/>
            <p:nvPr/>
          </p:nvSpPr>
          <p:spPr bwMode="auto">
            <a:xfrm>
              <a:off x="8897008" y="206265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ED911FB-571B-4AD6-808B-7A0388D61EC9}"/>
                </a:ext>
              </a:extLst>
            </p:cNvPr>
            <p:cNvSpPr/>
            <p:nvPr/>
          </p:nvSpPr>
          <p:spPr bwMode="auto">
            <a:xfrm>
              <a:off x="8907519" y="290085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FFFE-B846-46BF-9F90-3DF1CDED233F}"/>
                </a:ext>
              </a:extLst>
            </p:cNvPr>
            <p:cNvSpPr/>
            <p:nvPr/>
          </p:nvSpPr>
          <p:spPr bwMode="auto">
            <a:xfrm>
              <a:off x="8907519" y="3749567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C50213A-D578-402E-B7E5-E0F24216C905}"/>
                </a:ext>
              </a:extLst>
            </p:cNvPr>
            <p:cNvCxnSpPr>
              <a:cxnSpLocks/>
              <a:stCxn id="2" idx="6"/>
              <a:endCxn id="14" idx="2"/>
            </p:cNvCxnSpPr>
            <p:nvPr/>
          </p:nvCxnSpPr>
          <p:spPr>
            <a:xfrm>
              <a:off x="7152292" y="1933903"/>
              <a:ext cx="1744716" cy="5123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7E7231D-955A-42E0-A8B1-2F509592E892}"/>
                </a:ext>
              </a:extLst>
            </p:cNvPr>
            <p:cNvCxnSpPr>
              <a:cxnSpLocks/>
              <a:stCxn id="2" idx="6"/>
              <a:endCxn id="15" idx="2"/>
            </p:cNvCxnSpPr>
            <p:nvPr/>
          </p:nvCxnSpPr>
          <p:spPr>
            <a:xfrm>
              <a:off x="7152292" y="1933903"/>
              <a:ext cx="1755227" cy="13505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9E8C49BD-30FF-4DFD-9B41-F1F783275704}"/>
                </a:ext>
              </a:extLst>
            </p:cNvPr>
            <p:cNvCxnSpPr>
              <a:cxnSpLocks/>
              <a:stCxn id="2" idx="6"/>
              <a:endCxn id="16" idx="2"/>
            </p:cNvCxnSpPr>
            <p:nvPr/>
          </p:nvCxnSpPr>
          <p:spPr>
            <a:xfrm>
              <a:off x="7152292" y="1933903"/>
              <a:ext cx="1755227" cy="2199292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413AA7B-CB95-4C17-83C1-5CF79CF4ACD1}"/>
                </a:ext>
              </a:extLst>
            </p:cNvPr>
            <p:cNvCxnSpPr>
              <a:cxnSpLocks/>
              <a:stCxn id="3" idx="6"/>
              <a:endCxn id="14" idx="2"/>
            </p:cNvCxnSpPr>
            <p:nvPr/>
          </p:nvCxnSpPr>
          <p:spPr>
            <a:xfrm flipV="1">
              <a:off x="7162803" y="2446282"/>
              <a:ext cx="1734205" cy="428296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FF23E65-07D9-4D01-A6FC-548F068E43FC}"/>
                </a:ext>
              </a:extLst>
            </p:cNvPr>
            <p:cNvCxnSpPr>
              <a:cxnSpLocks/>
              <a:stCxn id="3" idx="6"/>
              <a:endCxn id="15" idx="2"/>
            </p:cNvCxnSpPr>
            <p:nvPr/>
          </p:nvCxnSpPr>
          <p:spPr>
            <a:xfrm>
              <a:off x="7162803" y="2874578"/>
              <a:ext cx="1744716" cy="4099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80DE3C8A-8CCC-4919-A880-4ACDD90C8598}"/>
                </a:ext>
              </a:extLst>
            </p:cNvPr>
            <p:cNvCxnSpPr>
              <a:cxnSpLocks/>
              <a:stCxn id="3" idx="6"/>
              <a:endCxn id="16" idx="2"/>
            </p:cNvCxnSpPr>
            <p:nvPr/>
          </p:nvCxnSpPr>
          <p:spPr>
            <a:xfrm>
              <a:off x="7162803" y="2874578"/>
              <a:ext cx="1744716" cy="125861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62EF05AF-3E5B-4343-8B5E-0EFF9157C0BD}"/>
                </a:ext>
              </a:extLst>
            </p:cNvPr>
            <p:cNvCxnSpPr>
              <a:cxnSpLocks/>
              <a:stCxn id="4" idx="6"/>
            </p:cNvCxnSpPr>
            <p:nvPr/>
          </p:nvCxnSpPr>
          <p:spPr>
            <a:xfrm>
              <a:off x="7152292" y="3770587"/>
              <a:ext cx="1744717" cy="28640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AF31F0FA-276D-4FDF-94D5-02DB4E447FCE}"/>
                </a:ext>
              </a:extLst>
            </p:cNvPr>
            <p:cNvCxnSpPr>
              <a:cxnSpLocks/>
              <a:stCxn id="4" idx="6"/>
              <a:endCxn id="15" idx="2"/>
            </p:cNvCxnSpPr>
            <p:nvPr/>
          </p:nvCxnSpPr>
          <p:spPr>
            <a:xfrm flipV="1">
              <a:off x="7152292" y="3284483"/>
              <a:ext cx="1755227" cy="486104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5ADE1B-E89E-4E8D-A7D6-47C66D145C98}"/>
                </a:ext>
              </a:extLst>
            </p:cNvPr>
            <p:cNvCxnSpPr>
              <a:cxnSpLocks/>
              <a:stCxn id="4" idx="6"/>
              <a:endCxn id="14" idx="2"/>
            </p:cNvCxnSpPr>
            <p:nvPr/>
          </p:nvCxnSpPr>
          <p:spPr>
            <a:xfrm flipV="1">
              <a:off x="7152292" y="2446282"/>
              <a:ext cx="1744716" cy="13243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73AE435-A45E-43B4-88E4-B9072FCA0060}"/>
                </a:ext>
              </a:extLst>
            </p:cNvPr>
            <p:cNvCxnSpPr>
              <a:cxnSpLocks/>
              <a:stCxn id="5" idx="6"/>
              <a:endCxn id="14" idx="2"/>
            </p:cNvCxnSpPr>
            <p:nvPr/>
          </p:nvCxnSpPr>
          <p:spPr>
            <a:xfrm flipV="1">
              <a:off x="7162802" y="2446282"/>
              <a:ext cx="1734206" cy="22649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ADDF3BD-5EC8-46A3-B2DE-4938F09DD553}"/>
                </a:ext>
              </a:extLst>
            </p:cNvPr>
            <p:cNvCxnSpPr>
              <a:cxnSpLocks/>
              <a:stCxn id="5" idx="6"/>
              <a:endCxn id="15" idx="2"/>
            </p:cNvCxnSpPr>
            <p:nvPr/>
          </p:nvCxnSpPr>
          <p:spPr>
            <a:xfrm flipV="1">
              <a:off x="7162802" y="3284483"/>
              <a:ext cx="1744717" cy="14267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D30E895-AAAD-4DE1-9E2F-88898B3FB63A}"/>
                </a:ext>
              </a:extLst>
            </p:cNvPr>
            <p:cNvCxnSpPr>
              <a:cxnSpLocks/>
              <a:stCxn id="5" idx="6"/>
              <a:endCxn id="16" idx="2"/>
            </p:cNvCxnSpPr>
            <p:nvPr/>
          </p:nvCxnSpPr>
          <p:spPr>
            <a:xfrm flipV="1">
              <a:off x="7162802" y="4133195"/>
              <a:ext cx="1744717" cy="57806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87620F-9B7E-4881-AFC9-A5C2141743EB}"/>
                </a:ext>
              </a:extLst>
            </p:cNvPr>
            <p:cNvCxnSpPr>
              <a:cxnSpLocks/>
              <a:stCxn id="14" idx="6"/>
            </p:cNvCxnSpPr>
            <p:nvPr/>
          </p:nvCxnSpPr>
          <p:spPr>
            <a:xfrm flipV="1">
              <a:off x="9664264" y="2430517"/>
              <a:ext cx="362605" cy="1576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E50B34-A343-4F9A-93DB-E8D8D400FE56}"/>
                </a:ext>
              </a:extLst>
            </p:cNvPr>
            <p:cNvCxnSpPr>
              <a:cxnSpLocks/>
              <a:stCxn id="15" idx="6"/>
            </p:cNvCxnSpPr>
            <p:nvPr/>
          </p:nvCxnSpPr>
          <p:spPr>
            <a:xfrm>
              <a:off x="9674775" y="3284483"/>
              <a:ext cx="352094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3501160-535C-4518-BD88-BC8BC6FDAEC7}"/>
                </a:ext>
              </a:extLst>
            </p:cNvPr>
            <p:cNvCxnSpPr>
              <a:cxnSpLocks/>
              <a:stCxn id="16" idx="6"/>
            </p:cNvCxnSpPr>
            <p:nvPr/>
          </p:nvCxnSpPr>
          <p:spPr>
            <a:xfrm flipV="1">
              <a:off x="9674775" y="4122684"/>
              <a:ext cx="420412" cy="10511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3C7A33D-FABA-40DE-9B49-9C8B338369E6}"/>
                </a:ext>
              </a:extLst>
            </p:cNvPr>
            <p:cNvGrpSpPr/>
            <p:nvPr/>
          </p:nvGrpSpPr>
          <p:grpSpPr>
            <a:xfrm>
              <a:off x="6395492" y="1826181"/>
              <a:ext cx="3289861" cy="2953407"/>
              <a:chOff x="3710098" y="1868222"/>
              <a:chExt cx="3289861" cy="2953407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3FEF045-DCCE-43F2-8B2C-A5E0CE4F851F}"/>
                  </a:ext>
                </a:extLst>
              </p:cNvPr>
              <p:cNvSpPr txBox="1"/>
              <p:nvPr/>
            </p:nvSpPr>
            <p:spPr>
              <a:xfrm>
                <a:off x="3710281" y="1868222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ABE4C8F9-5AB3-4211-8C1D-B71A7636DEEC}"/>
                  </a:ext>
                </a:extLst>
              </p:cNvPr>
              <p:cNvSpPr txBox="1"/>
              <p:nvPr/>
            </p:nvSpPr>
            <p:spPr>
              <a:xfrm>
                <a:off x="3736495" y="2777373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ACD602A-6075-4736-AB18-548B4F084770}"/>
                  </a:ext>
                </a:extLst>
              </p:cNvPr>
              <p:cNvSpPr txBox="1"/>
              <p:nvPr/>
            </p:nvSpPr>
            <p:spPr>
              <a:xfrm>
                <a:off x="3725924" y="368652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7A305AE8-0B62-404D-9EEE-B098BAB8CEF5}"/>
                  </a:ext>
                </a:extLst>
              </p:cNvPr>
              <p:cNvSpPr txBox="1"/>
              <p:nvPr/>
            </p:nvSpPr>
            <p:spPr>
              <a:xfrm>
                <a:off x="3710098" y="460618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13FEFD5-3960-4367-A014-4D5EDFFBE822}"/>
                  </a:ext>
                </a:extLst>
              </p:cNvPr>
              <p:cNvSpPr txBox="1"/>
              <p:nvPr/>
            </p:nvSpPr>
            <p:spPr>
              <a:xfrm>
                <a:off x="6216933" y="2352841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C746EED-7F75-4279-BDBC-404524CD26D4}"/>
                  </a:ext>
                </a:extLst>
              </p:cNvPr>
              <p:cNvSpPr txBox="1"/>
              <p:nvPr/>
            </p:nvSpPr>
            <p:spPr>
              <a:xfrm>
                <a:off x="6243275" y="319252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32148B10-44D9-4D6D-BC36-C6612AFF7BFC}"/>
                  </a:ext>
                </a:extLst>
              </p:cNvPr>
              <p:cNvSpPr txBox="1"/>
              <p:nvPr/>
            </p:nvSpPr>
            <p:spPr>
              <a:xfrm>
                <a:off x="6243342" y="404797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D1880445-2BEA-4820-87C9-A68D71D5544C}"/>
                </a:ext>
              </a:extLst>
            </p:cNvPr>
            <p:cNvGrpSpPr/>
            <p:nvPr/>
          </p:nvGrpSpPr>
          <p:grpSpPr>
            <a:xfrm>
              <a:off x="10176590" y="2135123"/>
              <a:ext cx="596318" cy="2246165"/>
              <a:chOff x="7458477" y="2195559"/>
              <a:chExt cx="596318" cy="2246165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87E835DE-34A3-4D3D-A049-3B313D01A0FA}"/>
                  </a:ext>
                </a:extLst>
              </p:cNvPr>
              <p:cNvSpPr txBox="1"/>
              <p:nvPr/>
            </p:nvSpPr>
            <p:spPr>
              <a:xfrm>
                <a:off x="7458477" y="2195559"/>
                <a:ext cx="596317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1.0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4C7FE81-109C-4C73-9EF8-9833FF8CCE8B}"/>
                  </a:ext>
                </a:extLst>
              </p:cNvPr>
              <p:cNvSpPr txBox="1"/>
              <p:nvPr/>
            </p:nvSpPr>
            <p:spPr>
              <a:xfrm>
                <a:off x="7458478" y="3049525"/>
                <a:ext cx="596317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0.0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90A5911A-7FCC-4C7F-8B66-EE75645B6329}"/>
                  </a:ext>
                </a:extLst>
              </p:cNvPr>
              <p:cNvSpPr txBox="1"/>
              <p:nvPr/>
            </p:nvSpPr>
            <p:spPr>
              <a:xfrm>
                <a:off x="7458478" y="3887726"/>
                <a:ext cx="596317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1A1A1A"/>
                        </a:gs>
                        <a:gs pos="30000">
                          <a:srgbClr val="1A1A1A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0.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17251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687A38E7-C465-4890-9056-4D2A4ADF108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55597" y="2158478"/>
          <a:ext cx="3215562" cy="3108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7739272-303E-4B5D-B33D-263C7813B48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51556" y="2165299"/>
          <a:ext cx="3215562" cy="3108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E4F3397-C997-4DFA-8B4A-24252DF39B8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107467" y="2829490"/>
          <a:ext cx="1607781" cy="15542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452F867-F03C-41E8-8A0B-2FB9689A3B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62423" y="2158478"/>
          <a:ext cx="1604748" cy="15754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491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491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491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52513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513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513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F3021AA-FF46-4F51-8FF9-AB7CC7DB49F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55597" y="2158478"/>
          <a:ext cx="3215562" cy="3108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92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592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1808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365C9B7-60CC-4AA5-9E95-AC23EF8844E3}"/>
              </a:ext>
            </a:extLst>
          </p:cNvPr>
          <p:cNvSpPr txBox="1"/>
          <p:nvPr/>
        </p:nvSpPr>
        <p:spPr>
          <a:xfrm>
            <a:off x="8597860" y="272975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8180DB-3E39-40D4-BD2B-6D93D20E7CF4}"/>
              </a:ext>
            </a:extLst>
          </p:cNvPr>
          <p:cNvSpPr txBox="1"/>
          <p:nvPr/>
        </p:nvSpPr>
        <p:spPr>
          <a:xfrm>
            <a:off x="9105102" y="272975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4A2CE9-6E28-415D-9A2A-B635A25B4BA5}"/>
              </a:ext>
            </a:extLst>
          </p:cNvPr>
          <p:cNvGrpSpPr/>
          <p:nvPr/>
        </p:nvGrpSpPr>
        <p:grpSpPr>
          <a:xfrm>
            <a:off x="8597858" y="2729756"/>
            <a:ext cx="1671161" cy="1961980"/>
            <a:chOff x="7896141" y="2176315"/>
            <a:chExt cx="1671161" cy="196198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00A09E5-0B77-4794-9C5B-E4CF4AC9678F}"/>
                </a:ext>
              </a:extLst>
            </p:cNvPr>
            <p:cNvSpPr txBox="1"/>
            <p:nvPr/>
          </p:nvSpPr>
          <p:spPr>
            <a:xfrm>
              <a:off x="8962484" y="217631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8132089-C3AD-4BDF-9915-F5B9D4B79821}"/>
                </a:ext>
              </a:extLst>
            </p:cNvPr>
            <p:cNvSpPr txBox="1"/>
            <p:nvPr/>
          </p:nvSpPr>
          <p:spPr>
            <a:xfrm>
              <a:off x="9521583" y="217631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B38BBC9-E51A-4FC2-9D55-137D95762F57}"/>
                </a:ext>
              </a:extLst>
            </p:cNvPr>
            <p:cNvSpPr txBox="1"/>
            <p:nvPr/>
          </p:nvSpPr>
          <p:spPr>
            <a:xfrm>
              <a:off x="7896143" y="2719706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8BDDDC5-162B-4526-BC1D-66A7943187EC}"/>
                </a:ext>
              </a:extLst>
            </p:cNvPr>
            <p:cNvSpPr txBox="1"/>
            <p:nvPr/>
          </p:nvSpPr>
          <p:spPr>
            <a:xfrm>
              <a:off x="8403384" y="2719706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2FFF035-96B0-4498-B3C7-322CFCC5E91A}"/>
                </a:ext>
              </a:extLst>
            </p:cNvPr>
            <p:cNvSpPr txBox="1"/>
            <p:nvPr/>
          </p:nvSpPr>
          <p:spPr>
            <a:xfrm>
              <a:off x="8962484" y="2711737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13AF9AF-9685-4098-AD66-1D097D8CBB67}"/>
                </a:ext>
              </a:extLst>
            </p:cNvPr>
            <p:cNvSpPr txBox="1"/>
            <p:nvPr/>
          </p:nvSpPr>
          <p:spPr>
            <a:xfrm>
              <a:off x="9498723" y="2711737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78CB3F-C5BE-42B8-AEA9-D24F42CFD304}"/>
                </a:ext>
              </a:extLst>
            </p:cNvPr>
            <p:cNvSpPr txBox="1"/>
            <p:nvPr/>
          </p:nvSpPr>
          <p:spPr>
            <a:xfrm>
              <a:off x="7896142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6CF0749-FD1B-40F3-9CEB-6508B1DDA1D5}"/>
                </a:ext>
              </a:extLst>
            </p:cNvPr>
            <p:cNvSpPr txBox="1"/>
            <p:nvPr/>
          </p:nvSpPr>
          <p:spPr>
            <a:xfrm>
              <a:off x="8403383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B1AFB31-2A5B-44F9-BDAB-13571A5139B4}"/>
                </a:ext>
              </a:extLst>
            </p:cNvPr>
            <p:cNvSpPr txBox="1"/>
            <p:nvPr/>
          </p:nvSpPr>
          <p:spPr>
            <a:xfrm>
              <a:off x="8962484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2939FA4-CD07-40D6-8481-C2C8CDA8F442}"/>
                </a:ext>
              </a:extLst>
            </p:cNvPr>
            <p:cNvSpPr txBox="1"/>
            <p:nvPr/>
          </p:nvSpPr>
          <p:spPr>
            <a:xfrm>
              <a:off x="9498722" y="3216295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CF8FC97-7617-41E7-A51D-11602F0E392A}"/>
                </a:ext>
              </a:extLst>
            </p:cNvPr>
            <p:cNvSpPr txBox="1"/>
            <p:nvPr/>
          </p:nvSpPr>
          <p:spPr>
            <a:xfrm>
              <a:off x="7896141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E619CD4-C025-4519-B15D-85B17DD7901A}"/>
                </a:ext>
              </a:extLst>
            </p:cNvPr>
            <p:cNvSpPr txBox="1"/>
            <p:nvPr/>
          </p:nvSpPr>
          <p:spPr>
            <a:xfrm>
              <a:off x="8403383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2BD92E3-ADB9-437E-9E5B-DFF3E4E81F42}"/>
                </a:ext>
              </a:extLst>
            </p:cNvPr>
            <p:cNvSpPr txBox="1"/>
            <p:nvPr/>
          </p:nvSpPr>
          <p:spPr>
            <a:xfrm>
              <a:off x="8962484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FF45BF6-AE3E-43B4-8B7D-8251BC6B6174}"/>
                </a:ext>
              </a:extLst>
            </p:cNvPr>
            <p:cNvSpPr txBox="1"/>
            <p:nvPr/>
          </p:nvSpPr>
          <p:spPr>
            <a:xfrm>
              <a:off x="9483595" y="3768963"/>
              <a:ext cx="457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82EE5C5-608E-4145-B2A2-4EEFFA47FE2E}"/>
              </a:ext>
            </a:extLst>
          </p:cNvPr>
          <p:cNvSpPr txBox="1"/>
          <p:nvPr/>
        </p:nvSpPr>
        <p:spPr>
          <a:xfrm>
            <a:off x="4717321" y="926511"/>
            <a:ext cx="275735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nvolution</a:t>
            </a:r>
          </a:p>
        </p:txBody>
      </p:sp>
    </p:spTree>
    <p:extLst>
      <p:ext uri="{BB962C8B-B14F-4D97-AF65-F5344CB8AC3E}">
        <p14:creationId xmlns:p14="http://schemas.microsoft.com/office/powerpoint/2010/main" val="3115417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3.7037E-7 L 0.04309 3.7037E-7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4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15 -0.00602 L 0.03515 -0.00579 L 0.13085 -0.00602 L -0.0017 0.07755 L 0.12591 0.07454 L -0.00404 0.15208 L 0.12695 0.15116 L -0.0056 0.22986 L 0.13085 0.23194 " pathEditMode="relative" rAng="0" ptsTypes="AAAAAAAAA">
                                      <p:cBhvr>
                                        <p:cTn id="4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47" y="11898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2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687A38E7-C465-4890-9056-4D2A4ADF108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28735" y="2188178"/>
          <a:ext cx="3238602" cy="31238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9767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3939343646"/>
                    </a:ext>
                  </a:extLst>
                </a:gridCol>
                <a:gridCol w="539767">
                  <a:extLst>
                    <a:ext uri="{9D8B030D-6E8A-4147-A177-3AD203B41FA5}">
                      <a16:colId xmlns:a16="http://schemas.microsoft.com/office/drawing/2014/main" val="1039410987"/>
                    </a:ext>
                  </a:extLst>
                </a:gridCol>
              </a:tblGrid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</a:t>
                      </a: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</a:t>
                      </a:r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903197"/>
                  </a:ext>
                </a:extLst>
              </a:tr>
              <a:tr h="52063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142125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B30DC8C7-0504-4F19-AC97-25F382C0406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28735" y="2188178"/>
          <a:ext cx="1613646" cy="15837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7882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37882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37882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52792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792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792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8E45BD31-FE1D-48DB-89C7-6789DAF2BE8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45229" y="2877811"/>
          <a:ext cx="2178424" cy="20887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460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</a:tblGrid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D99F1683-026F-4FF2-AE5C-99D34A8C720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45229" y="2877811"/>
          <a:ext cx="2178424" cy="20887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460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</a:tblGrid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</a:tbl>
          </a:graphicData>
        </a:graphic>
      </p:graphicFrame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A9DC4DC4-73E0-4259-BFF3-1B79300676E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245229" y="2877811"/>
          <a:ext cx="2178424" cy="20887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4606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  <a:gridCol w="544606">
                  <a:extLst>
                    <a:ext uri="{9D8B030D-6E8A-4147-A177-3AD203B41FA5}">
                      <a16:colId xmlns:a16="http://schemas.microsoft.com/office/drawing/2014/main" val="4263849697"/>
                    </a:ext>
                  </a:extLst>
                </a:gridCol>
              </a:tblGrid>
              <a:tr h="522195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  <a:tr h="522195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37142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DB480DE-64F8-4F9D-9705-D69B175DF1F8}"/>
              </a:ext>
            </a:extLst>
          </p:cNvPr>
          <p:cNvSpPr txBox="1"/>
          <p:nvPr/>
        </p:nvSpPr>
        <p:spPr>
          <a:xfrm>
            <a:off x="3500140" y="930441"/>
            <a:ext cx="554978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oling (</a:t>
            </a: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wnsampling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810370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7.40741E-7 L 0.12578 -7.40741E-7 L 3.54167E-6 0.07824 L 0.12617 0.07824 L 0.0013 0.15162 L 0.1276 0.15324 L 0.00026 0.22662 L 0.13229 0.23102 " pathEditMode="relative" rAng="0" ptsTypes="AAAAAAAA">
                                      <p:cBhvr>
                                        <p:cTn id="25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615" y="11551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D5BDD655-874E-4B7A-9486-546DCB4334BA}"/>
              </a:ext>
            </a:extLst>
          </p:cNvPr>
          <p:cNvGrpSpPr/>
          <p:nvPr/>
        </p:nvGrpSpPr>
        <p:grpSpPr>
          <a:xfrm>
            <a:off x="6385036" y="1550275"/>
            <a:ext cx="3710151" cy="3544615"/>
            <a:chOff x="6385036" y="1550275"/>
            <a:chExt cx="3710151" cy="354461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4D6F81A-0D65-495C-AF85-8CD465E62844}"/>
                </a:ext>
              </a:extLst>
            </p:cNvPr>
            <p:cNvSpPr/>
            <p:nvPr/>
          </p:nvSpPr>
          <p:spPr bwMode="auto">
            <a:xfrm>
              <a:off x="6385036" y="155027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45CF4F1-F6B7-46DA-BEB4-E8D3ECFAB3E3}"/>
                </a:ext>
              </a:extLst>
            </p:cNvPr>
            <p:cNvSpPr/>
            <p:nvPr/>
          </p:nvSpPr>
          <p:spPr bwMode="auto">
            <a:xfrm>
              <a:off x="6395547" y="2490950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70D0C98-44F6-46EC-BFD8-2F32FF9A3526}"/>
                </a:ext>
              </a:extLst>
            </p:cNvPr>
            <p:cNvSpPr/>
            <p:nvPr/>
          </p:nvSpPr>
          <p:spPr bwMode="auto">
            <a:xfrm>
              <a:off x="6385036" y="3386959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2E72C10-C0BF-45AB-A715-14229AD99EF7}"/>
                </a:ext>
              </a:extLst>
            </p:cNvPr>
            <p:cNvSpPr/>
            <p:nvPr/>
          </p:nvSpPr>
          <p:spPr bwMode="auto">
            <a:xfrm>
              <a:off x="6395546" y="432763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AB187F6-EDC8-4346-9FB9-EDB01598A784}"/>
                </a:ext>
              </a:extLst>
            </p:cNvPr>
            <p:cNvSpPr/>
            <p:nvPr/>
          </p:nvSpPr>
          <p:spPr bwMode="auto">
            <a:xfrm>
              <a:off x="8897008" y="2062654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ED911FB-571B-4AD6-808B-7A0388D61EC9}"/>
                </a:ext>
              </a:extLst>
            </p:cNvPr>
            <p:cNvSpPr/>
            <p:nvPr/>
          </p:nvSpPr>
          <p:spPr bwMode="auto">
            <a:xfrm>
              <a:off x="8907519" y="290085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FFFE-B846-46BF-9F90-3DF1CDED233F}"/>
                </a:ext>
              </a:extLst>
            </p:cNvPr>
            <p:cNvSpPr/>
            <p:nvPr/>
          </p:nvSpPr>
          <p:spPr bwMode="auto">
            <a:xfrm>
              <a:off x="8907519" y="3749567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C50213A-D578-402E-B7E5-E0F24216C905}"/>
                </a:ext>
              </a:extLst>
            </p:cNvPr>
            <p:cNvCxnSpPr>
              <a:cxnSpLocks/>
              <a:stCxn id="2" idx="6"/>
              <a:endCxn id="14" idx="2"/>
            </p:cNvCxnSpPr>
            <p:nvPr/>
          </p:nvCxnSpPr>
          <p:spPr>
            <a:xfrm>
              <a:off x="7152292" y="1933903"/>
              <a:ext cx="1744716" cy="5123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7E7231D-955A-42E0-A8B1-2F509592E892}"/>
                </a:ext>
              </a:extLst>
            </p:cNvPr>
            <p:cNvCxnSpPr>
              <a:cxnSpLocks/>
              <a:stCxn id="2" idx="6"/>
              <a:endCxn id="15" idx="2"/>
            </p:cNvCxnSpPr>
            <p:nvPr/>
          </p:nvCxnSpPr>
          <p:spPr>
            <a:xfrm>
              <a:off x="7152292" y="1933903"/>
              <a:ext cx="1755227" cy="13505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9E8C49BD-30FF-4DFD-9B41-F1F783275704}"/>
                </a:ext>
              </a:extLst>
            </p:cNvPr>
            <p:cNvCxnSpPr>
              <a:cxnSpLocks/>
              <a:stCxn id="2" idx="6"/>
              <a:endCxn id="16" idx="2"/>
            </p:cNvCxnSpPr>
            <p:nvPr/>
          </p:nvCxnSpPr>
          <p:spPr>
            <a:xfrm>
              <a:off x="7152292" y="1933903"/>
              <a:ext cx="1755227" cy="2199292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413AA7B-CB95-4C17-83C1-5CF79CF4ACD1}"/>
                </a:ext>
              </a:extLst>
            </p:cNvPr>
            <p:cNvCxnSpPr>
              <a:cxnSpLocks/>
              <a:stCxn id="3" idx="6"/>
              <a:endCxn id="14" idx="2"/>
            </p:cNvCxnSpPr>
            <p:nvPr/>
          </p:nvCxnSpPr>
          <p:spPr>
            <a:xfrm flipV="1">
              <a:off x="7162803" y="2446282"/>
              <a:ext cx="1734205" cy="428296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FF23E65-07D9-4D01-A6FC-548F068E43FC}"/>
                </a:ext>
              </a:extLst>
            </p:cNvPr>
            <p:cNvCxnSpPr>
              <a:cxnSpLocks/>
              <a:stCxn id="3" idx="6"/>
              <a:endCxn id="15" idx="2"/>
            </p:cNvCxnSpPr>
            <p:nvPr/>
          </p:nvCxnSpPr>
          <p:spPr>
            <a:xfrm>
              <a:off x="7162803" y="2874578"/>
              <a:ext cx="1744716" cy="4099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80DE3C8A-8CCC-4919-A880-4ACDD90C8598}"/>
                </a:ext>
              </a:extLst>
            </p:cNvPr>
            <p:cNvCxnSpPr>
              <a:cxnSpLocks/>
              <a:stCxn id="3" idx="6"/>
              <a:endCxn id="16" idx="2"/>
            </p:cNvCxnSpPr>
            <p:nvPr/>
          </p:nvCxnSpPr>
          <p:spPr>
            <a:xfrm>
              <a:off x="7162803" y="2874578"/>
              <a:ext cx="1744716" cy="125861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62EF05AF-3E5B-4343-8B5E-0EFF9157C0BD}"/>
                </a:ext>
              </a:extLst>
            </p:cNvPr>
            <p:cNvCxnSpPr>
              <a:cxnSpLocks/>
              <a:stCxn id="4" idx="6"/>
            </p:cNvCxnSpPr>
            <p:nvPr/>
          </p:nvCxnSpPr>
          <p:spPr>
            <a:xfrm>
              <a:off x="7152292" y="3770587"/>
              <a:ext cx="1744717" cy="28640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AF31F0FA-276D-4FDF-94D5-02DB4E447FCE}"/>
                </a:ext>
              </a:extLst>
            </p:cNvPr>
            <p:cNvCxnSpPr>
              <a:cxnSpLocks/>
              <a:stCxn id="4" idx="6"/>
              <a:endCxn id="15" idx="2"/>
            </p:cNvCxnSpPr>
            <p:nvPr/>
          </p:nvCxnSpPr>
          <p:spPr>
            <a:xfrm flipV="1">
              <a:off x="7152292" y="3284483"/>
              <a:ext cx="1755227" cy="486104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5ADE1B-E89E-4E8D-A7D6-47C66D145C98}"/>
                </a:ext>
              </a:extLst>
            </p:cNvPr>
            <p:cNvCxnSpPr>
              <a:cxnSpLocks/>
              <a:stCxn id="4" idx="6"/>
              <a:endCxn id="14" idx="2"/>
            </p:cNvCxnSpPr>
            <p:nvPr/>
          </p:nvCxnSpPr>
          <p:spPr>
            <a:xfrm flipV="1">
              <a:off x="7152292" y="2446282"/>
              <a:ext cx="1744716" cy="13243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73AE435-A45E-43B4-88E4-B9072FCA0060}"/>
                </a:ext>
              </a:extLst>
            </p:cNvPr>
            <p:cNvCxnSpPr>
              <a:cxnSpLocks/>
              <a:stCxn id="5" idx="6"/>
              <a:endCxn id="14" idx="2"/>
            </p:cNvCxnSpPr>
            <p:nvPr/>
          </p:nvCxnSpPr>
          <p:spPr>
            <a:xfrm flipV="1">
              <a:off x="7162802" y="2446282"/>
              <a:ext cx="1734206" cy="22649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ADDF3BD-5EC8-46A3-B2DE-4938F09DD553}"/>
                </a:ext>
              </a:extLst>
            </p:cNvPr>
            <p:cNvCxnSpPr>
              <a:cxnSpLocks/>
              <a:stCxn id="5" idx="6"/>
              <a:endCxn id="15" idx="2"/>
            </p:cNvCxnSpPr>
            <p:nvPr/>
          </p:nvCxnSpPr>
          <p:spPr>
            <a:xfrm flipV="1">
              <a:off x="7162802" y="3284483"/>
              <a:ext cx="1744717" cy="14267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D30E895-AAAD-4DE1-9E2F-88898B3FB63A}"/>
                </a:ext>
              </a:extLst>
            </p:cNvPr>
            <p:cNvCxnSpPr>
              <a:cxnSpLocks/>
              <a:stCxn id="5" idx="6"/>
              <a:endCxn id="16" idx="2"/>
            </p:cNvCxnSpPr>
            <p:nvPr/>
          </p:nvCxnSpPr>
          <p:spPr>
            <a:xfrm flipV="1">
              <a:off x="7162802" y="4133195"/>
              <a:ext cx="1744717" cy="57806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87620F-9B7E-4881-AFC9-A5C2141743EB}"/>
                </a:ext>
              </a:extLst>
            </p:cNvPr>
            <p:cNvCxnSpPr>
              <a:cxnSpLocks/>
              <a:stCxn id="14" idx="6"/>
            </p:cNvCxnSpPr>
            <p:nvPr/>
          </p:nvCxnSpPr>
          <p:spPr>
            <a:xfrm flipV="1">
              <a:off x="9664264" y="2430517"/>
              <a:ext cx="362605" cy="1576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E50B34-A343-4F9A-93DB-E8D8D400FE56}"/>
                </a:ext>
              </a:extLst>
            </p:cNvPr>
            <p:cNvCxnSpPr>
              <a:cxnSpLocks/>
              <a:stCxn id="15" idx="6"/>
            </p:cNvCxnSpPr>
            <p:nvPr/>
          </p:nvCxnSpPr>
          <p:spPr>
            <a:xfrm>
              <a:off x="9674775" y="3284483"/>
              <a:ext cx="352094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3501160-535C-4518-BD88-BC8BC6FDAEC7}"/>
                </a:ext>
              </a:extLst>
            </p:cNvPr>
            <p:cNvCxnSpPr>
              <a:cxnSpLocks/>
              <a:stCxn id="16" idx="6"/>
            </p:cNvCxnSpPr>
            <p:nvPr/>
          </p:nvCxnSpPr>
          <p:spPr>
            <a:xfrm flipV="1">
              <a:off x="9674775" y="4122684"/>
              <a:ext cx="420412" cy="10511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3C7A33D-FABA-40DE-9B49-9C8B338369E6}"/>
                </a:ext>
              </a:extLst>
            </p:cNvPr>
            <p:cNvGrpSpPr/>
            <p:nvPr/>
          </p:nvGrpSpPr>
          <p:grpSpPr>
            <a:xfrm>
              <a:off x="6395492" y="1826181"/>
              <a:ext cx="3289861" cy="2953407"/>
              <a:chOff x="3710098" y="1868222"/>
              <a:chExt cx="3289861" cy="2953407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3FEF045-DCCE-43F2-8B2C-A5E0CE4F851F}"/>
                  </a:ext>
                </a:extLst>
              </p:cNvPr>
              <p:cNvSpPr txBox="1"/>
              <p:nvPr/>
            </p:nvSpPr>
            <p:spPr>
              <a:xfrm>
                <a:off x="3710281" y="1868222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ABE4C8F9-5AB3-4211-8C1D-B71A7636DEEC}"/>
                  </a:ext>
                </a:extLst>
              </p:cNvPr>
              <p:cNvSpPr txBox="1"/>
              <p:nvPr/>
            </p:nvSpPr>
            <p:spPr>
              <a:xfrm>
                <a:off x="3736495" y="2777373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ACD602A-6075-4736-AB18-548B4F084770}"/>
                  </a:ext>
                </a:extLst>
              </p:cNvPr>
              <p:cNvSpPr txBox="1"/>
              <p:nvPr/>
            </p:nvSpPr>
            <p:spPr>
              <a:xfrm>
                <a:off x="3725924" y="368652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7A305AE8-0B62-404D-9EEE-B098BAB8CEF5}"/>
                  </a:ext>
                </a:extLst>
              </p:cNvPr>
              <p:cNvSpPr txBox="1"/>
              <p:nvPr/>
            </p:nvSpPr>
            <p:spPr>
              <a:xfrm>
                <a:off x="3710098" y="460618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13FEFD5-3960-4367-A014-4D5EDFFBE822}"/>
                  </a:ext>
                </a:extLst>
              </p:cNvPr>
              <p:cNvSpPr txBox="1"/>
              <p:nvPr/>
            </p:nvSpPr>
            <p:spPr>
              <a:xfrm>
                <a:off x="6216933" y="2352841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C746EED-7F75-4279-BDBC-404524CD26D4}"/>
                  </a:ext>
                </a:extLst>
              </p:cNvPr>
              <p:cNvSpPr txBox="1"/>
              <p:nvPr/>
            </p:nvSpPr>
            <p:spPr>
              <a:xfrm>
                <a:off x="6243275" y="3192525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32148B10-44D9-4D6D-BC36-C6612AFF7BFC}"/>
                  </a:ext>
                </a:extLst>
              </p:cNvPr>
              <p:cNvSpPr txBox="1"/>
              <p:nvPr/>
            </p:nvSpPr>
            <p:spPr>
              <a:xfrm>
                <a:off x="6243342" y="4047974"/>
                <a:ext cx="75661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∫∑(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x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w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)+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</a:t>
                </a:r>
              </a:p>
            </p:txBody>
          </p:sp>
        </p:grpSp>
      </p:grpSp>
      <p:pic>
        <p:nvPicPr>
          <p:cNvPr id="42" name="Picture 41" descr="A close up of a purple flower&#10;&#10;Description automatically generated">
            <a:extLst>
              <a:ext uri="{FF2B5EF4-FFF2-40B4-BE49-F238E27FC236}">
                <a16:creationId xmlns:a16="http://schemas.microsoft.com/office/drawing/2014/main" id="{C21A95C8-C123-4BC7-82EA-97BC02CE8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01988" y="3164371"/>
            <a:ext cx="1425984" cy="1131734"/>
          </a:xfrm>
          <a:prstGeom prst="rect">
            <a:avLst/>
          </a:prstGeom>
        </p:spPr>
      </p:pic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1BE2DCF6-8B3C-4A62-BEBD-823EF042897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74179" y="2462044"/>
          <a:ext cx="964623" cy="7672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154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3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4FFC0B9A-1C4B-469C-AAAE-FD9338C32A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53" t="65440" r="1539" b="23372"/>
          <a:stretch/>
        </p:blipFill>
        <p:spPr bwMode="auto">
          <a:xfrm>
            <a:off x="3492269" y="4236605"/>
            <a:ext cx="982718" cy="767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97E72FD1-E7CA-4497-AE97-99DF5783B7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8" t="22605" r="75550" b="65287"/>
          <a:stretch/>
        </p:blipFill>
        <p:spPr bwMode="auto">
          <a:xfrm>
            <a:off x="1641816" y="2254845"/>
            <a:ext cx="1438866" cy="1126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>
            <a:extLst>
              <a:ext uri="{FF2B5EF4-FFF2-40B4-BE49-F238E27FC236}">
                <a16:creationId xmlns:a16="http://schemas.microsoft.com/office/drawing/2014/main" id="{2B29BB4E-CF87-40C4-8E5C-4B074D222F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70" t="23008" r="50873" b="65306"/>
          <a:stretch/>
        </p:blipFill>
        <p:spPr bwMode="auto">
          <a:xfrm>
            <a:off x="1641816" y="4056994"/>
            <a:ext cx="1455175" cy="1126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>
            <a:extLst>
              <a:ext uri="{FF2B5EF4-FFF2-40B4-BE49-F238E27FC236}">
                <a16:creationId xmlns:a16="http://schemas.microsoft.com/office/drawing/2014/main" id="{3BCB26DB-B565-493D-8AB4-F878E2C915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7" t="86458" r="75673" b="2124"/>
          <a:stretch/>
        </p:blipFill>
        <p:spPr bwMode="auto">
          <a:xfrm>
            <a:off x="3438021" y="2446282"/>
            <a:ext cx="1036966" cy="783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B2794469-9026-43E2-AF98-74974F71085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74179" y="4236605"/>
          <a:ext cx="964623" cy="7672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1541">
                  <a:extLst>
                    <a:ext uri="{9D8B030D-6E8A-4147-A177-3AD203B41FA5}">
                      <a16:colId xmlns:a16="http://schemas.microsoft.com/office/drawing/2014/main" val="2182261407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2385182773"/>
                    </a:ext>
                  </a:extLst>
                </a:gridCol>
                <a:gridCol w="321541">
                  <a:extLst>
                    <a:ext uri="{9D8B030D-6E8A-4147-A177-3AD203B41FA5}">
                      <a16:colId xmlns:a16="http://schemas.microsoft.com/office/drawing/2014/main" val="3361682333"/>
                    </a:ext>
                  </a:extLst>
                </a:gridCol>
              </a:tblGrid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364041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3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32527"/>
                  </a:ext>
                </a:extLst>
              </a:tr>
              <a:tr h="255753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0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</a:t>
                      </a:r>
                    </a:p>
                  </a:txBody>
                  <a:tcPr marL="54862" marR="54862" marT="27431" marB="2743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94798"/>
                  </a:ext>
                </a:extLst>
              </a:tr>
            </a:tbl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AD458B00-3898-4CF5-94BE-6F7392B1B8D2}"/>
              </a:ext>
            </a:extLst>
          </p:cNvPr>
          <p:cNvGrpSpPr/>
          <p:nvPr/>
        </p:nvGrpSpPr>
        <p:grpSpPr>
          <a:xfrm>
            <a:off x="5793827" y="652472"/>
            <a:ext cx="327780" cy="3077766"/>
            <a:chOff x="2607992" y="1505396"/>
            <a:chExt cx="327780" cy="3077766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011EF84-10AC-4340-96FB-7F2A4012C9F6}"/>
                </a:ext>
              </a:extLst>
            </p:cNvPr>
            <p:cNvSpPr/>
            <p:nvPr/>
          </p:nvSpPr>
          <p:spPr>
            <a:xfrm>
              <a:off x="2613248" y="1505396"/>
              <a:ext cx="322524" cy="30777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Double Bracket 51">
              <a:extLst>
                <a:ext uri="{FF2B5EF4-FFF2-40B4-BE49-F238E27FC236}">
                  <a16:creationId xmlns:a16="http://schemas.microsoft.com/office/drawing/2014/main" id="{A7DA2A2A-1BA0-4A48-B8A2-5DD12711DBE3}"/>
                </a:ext>
              </a:extLst>
            </p:cNvPr>
            <p:cNvSpPr/>
            <p:nvPr/>
          </p:nvSpPr>
          <p:spPr>
            <a:xfrm>
              <a:off x="2607992" y="1550275"/>
              <a:ext cx="322524" cy="2777360"/>
            </a:xfrm>
            <a:prstGeom prst="bracketPair">
              <a:avLst>
                <a:gd name="adj" fmla="val 11532"/>
              </a:avLst>
            </a:prstGeom>
            <a:ln w="190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F99D5B6-37DC-4BEA-AB4A-C7D66B44FD42}"/>
              </a:ext>
            </a:extLst>
          </p:cNvPr>
          <p:cNvGrpSpPr/>
          <p:nvPr/>
        </p:nvGrpSpPr>
        <p:grpSpPr>
          <a:xfrm>
            <a:off x="5796455" y="3644483"/>
            <a:ext cx="327780" cy="3077766"/>
            <a:chOff x="2607992" y="1505396"/>
            <a:chExt cx="327780" cy="307776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FE83C2A-D374-41DF-B14E-6F580058B24F}"/>
                </a:ext>
              </a:extLst>
            </p:cNvPr>
            <p:cNvSpPr/>
            <p:nvPr/>
          </p:nvSpPr>
          <p:spPr>
            <a:xfrm>
              <a:off x="2613248" y="1505396"/>
              <a:ext cx="322524" cy="30777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Double Bracket 56">
              <a:extLst>
                <a:ext uri="{FF2B5EF4-FFF2-40B4-BE49-F238E27FC236}">
                  <a16:creationId xmlns:a16="http://schemas.microsoft.com/office/drawing/2014/main" id="{9F0F5C4F-58E3-43E7-B86F-65A240BDDCB6}"/>
                </a:ext>
              </a:extLst>
            </p:cNvPr>
            <p:cNvSpPr/>
            <p:nvPr/>
          </p:nvSpPr>
          <p:spPr>
            <a:xfrm>
              <a:off x="2607992" y="1550275"/>
              <a:ext cx="322524" cy="2777360"/>
            </a:xfrm>
            <a:prstGeom prst="bracketPair">
              <a:avLst>
                <a:gd name="adj" fmla="val 11532"/>
              </a:avLst>
            </a:prstGeom>
            <a:ln w="190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25B4BBD8-B834-411A-B652-4D4932546B36}"/>
              </a:ext>
            </a:extLst>
          </p:cNvPr>
          <p:cNvSpPr txBox="1"/>
          <p:nvPr/>
        </p:nvSpPr>
        <p:spPr>
          <a:xfrm>
            <a:off x="1661191" y="5712372"/>
            <a:ext cx="28389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eature Extrac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39E3654-989E-4F64-8BAF-294D5F4036C1}"/>
              </a:ext>
            </a:extLst>
          </p:cNvPr>
          <p:cNvSpPr txBox="1"/>
          <p:nvPr/>
        </p:nvSpPr>
        <p:spPr>
          <a:xfrm>
            <a:off x="7162802" y="5712372"/>
            <a:ext cx="2051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lassific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B53609B-E3A7-4282-958E-F7978FF9E371}"/>
              </a:ext>
            </a:extLst>
          </p:cNvPr>
          <p:cNvGrpSpPr/>
          <p:nvPr/>
        </p:nvGrpSpPr>
        <p:grpSpPr>
          <a:xfrm>
            <a:off x="10189713" y="2239860"/>
            <a:ext cx="400752" cy="2061499"/>
            <a:chOff x="10189713" y="2239860"/>
            <a:chExt cx="400752" cy="2061499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B3A9326-66A6-4284-A971-6ABDBCEC2E72}"/>
                </a:ext>
              </a:extLst>
            </p:cNvPr>
            <p:cNvSpPr txBox="1"/>
            <p:nvPr/>
          </p:nvSpPr>
          <p:spPr>
            <a:xfrm>
              <a:off x="10189713" y="2239860"/>
              <a:ext cx="40075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BCCE32E-3510-49F1-97B2-94828F95BAE2}"/>
                </a:ext>
              </a:extLst>
            </p:cNvPr>
            <p:cNvSpPr txBox="1"/>
            <p:nvPr/>
          </p:nvSpPr>
          <p:spPr>
            <a:xfrm>
              <a:off x="10189714" y="3093826"/>
              <a:ext cx="40075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50C785C-5AD4-46E2-BF60-2891EA3AEEF8}"/>
                </a:ext>
              </a:extLst>
            </p:cNvPr>
            <p:cNvSpPr txBox="1"/>
            <p:nvPr/>
          </p:nvSpPr>
          <p:spPr>
            <a:xfrm>
              <a:off x="10189714" y="3932027"/>
              <a:ext cx="400751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.0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50E21AE2-0935-44E2-ACB2-8A8B314A2626}"/>
              </a:ext>
            </a:extLst>
          </p:cNvPr>
          <p:cNvSpPr txBox="1"/>
          <p:nvPr/>
        </p:nvSpPr>
        <p:spPr>
          <a:xfrm>
            <a:off x="9750973" y="4708672"/>
            <a:ext cx="206787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= [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.8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0.2, 0.0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2D6425-0DAE-46BB-866C-D3E87EA51478}"/>
              </a:ext>
            </a:extLst>
          </p:cNvPr>
          <p:cNvSpPr txBox="1"/>
          <p:nvPr/>
        </p:nvSpPr>
        <p:spPr>
          <a:xfrm>
            <a:off x="2753132" y="53177"/>
            <a:ext cx="617553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nvolutional Neural Network</a:t>
            </a:r>
          </a:p>
        </p:txBody>
      </p:sp>
    </p:spTree>
    <p:extLst>
      <p:ext uri="{BB962C8B-B14F-4D97-AF65-F5344CB8AC3E}">
        <p14:creationId xmlns:p14="http://schemas.microsoft.com/office/powerpoint/2010/main" val="19355484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8" grpId="0"/>
      <p:bldP spid="64" grpId="0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82">
            <a:extLst>
              <a:ext uri="{FF2B5EF4-FFF2-40B4-BE49-F238E27FC236}">
                <a16:creationId xmlns:a16="http://schemas.microsoft.com/office/drawing/2014/main" id="{A7AA159B-CB6B-48A2-A623-098087EE3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5352" y="1575143"/>
            <a:ext cx="8374361" cy="3519747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72D394C-9BCA-421E-9291-E1780A3E3D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1515" y="872831"/>
            <a:ext cx="2403465" cy="1404623"/>
          </a:xfrm>
          <a:prstGeom prst="rect">
            <a:avLst/>
          </a:prstGeom>
        </p:spPr>
      </p:pic>
      <p:grpSp>
        <p:nvGrpSpPr>
          <p:cNvPr id="53" name="Group 10">
            <a:extLst>
              <a:ext uri="{FF2B5EF4-FFF2-40B4-BE49-F238E27FC236}">
                <a16:creationId xmlns:a16="http://schemas.microsoft.com/office/drawing/2014/main" id="{C4B9BA18-6921-4881-87F8-8906FBD17473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9176891" y="1412561"/>
            <a:ext cx="1055771" cy="1348191"/>
            <a:chOff x="1805" y="2643"/>
            <a:chExt cx="621" cy="793"/>
          </a:xfrm>
        </p:grpSpPr>
        <p:sp>
          <p:nvSpPr>
            <p:cNvPr id="54" name="AutoShape 9">
              <a:extLst>
                <a:ext uri="{FF2B5EF4-FFF2-40B4-BE49-F238E27FC236}">
                  <a16:creationId xmlns:a16="http://schemas.microsoft.com/office/drawing/2014/main" id="{369ABE54-8406-4E61-8940-4D1E042FC8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05" y="2643"/>
              <a:ext cx="618" cy="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8DE95AA1-A0E4-4BF9-A5FB-556D20C99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" y="2645"/>
              <a:ext cx="619" cy="690"/>
            </a:xfrm>
            <a:custGeom>
              <a:avLst/>
              <a:gdLst>
                <a:gd name="T0" fmla="*/ 247 w 258"/>
                <a:gd name="T1" fmla="*/ 20 h 289"/>
                <a:gd name="T2" fmla="*/ 233 w 258"/>
                <a:gd name="T3" fmla="*/ 20 h 289"/>
                <a:gd name="T4" fmla="*/ 206 w 258"/>
                <a:gd name="T5" fmla="*/ 0 h 289"/>
                <a:gd name="T6" fmla="*/ 29 w 258"/>
                <a:gd name="T7" fmla="*/ 0 h 289"/>
                <a:gd name="T8" fmla="*/ 0 w 258"/>
                <a:gd name="T9" fmla="*/ 29 h 289"/>
                <a:gd name="T10" fmla="*/ 0 w 258"/>
                <a:gd name="T11" fmla="*/ 260 h 289"/>
                <a:gd name="T12" fmla="*/ 29 w 258"/>
                <a:gd name="T13" fmla="*/ 289 h 289"/>
                <a:gd name="T14" fmla="*/ 206 w 258"/>
                <a:gd name="T15" fmla="*/ 289 h 289"/>
                <a:gd name="T16" fmla="*/ 234 w 258"/>
                <a:gd name="T17" fmla="*/ 260 h 289"/>
                <a:gd name="T18" fmla="*/ 234 w 258"/>
                <a:gd name="T19" fmla="*/ 129 h 289"/>
                <a:gd name="T20" fmla="*/ 247 w 258"/>
                <a:gd name="T21" fmla="*/ 129 h 289"/>
                <a:gd name="T22" fmla="*/ 258 w 258"/>
                <a:gd name="T23" fmla="*/ 119 h 289"/>
                <a:gd name="T24" fmla="*/ 258 w 258"/>
                <a:gd name="T25" fmla="*/ 31 h 289"/>
                <a:gd name="T26" fmla="*/ 247 w 258"/>
                <a:gd name="T27" fmla="*/ 2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8" h="289">
                  <a:moveTo>
                    <a:pt x="247" y="20"/>
                  </a:moveTo>
                  <a:cubicBezTo>
                    <a:pt x="233" y="20"/>
                    <a:pt x="233" y="20"/>
                    <a:pt x="233" y="20"/>
                  </a:cubicBezTo>
                  <a:cubicBezTo>
                    <a:pt x="229" y="9"/>
                    <a:pt x="218" y="0"/>
                    <a:pt x="20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276"/>
                    <a:pt x="13" y="289"/>
                    <a:pt x="29" y="289"/>
                  </a:cubicBezTo>
                  <a:cubicBezTo>
                    <a:pt x="206" y="289"/>
                    <a:pt x="206" y="289"/>
                    <a:pt x="206" y="289"/>
                  </a:cubicBezTo>
                  <a:cubicBezTo>
                    <a:pt x="221" y="289"/>
                    <a:pt x="234" y="276"/>
                    <a:pt x="234" y="260"/>
                  </a:cubicBezTo>
                  <a:cubicBezTo>
                    <a:pt x="234" y="129"/>
                    <a:pt x="234" y="129"/>
                    <a:pt x="234" y="129"/>
                  </a:cubicBezTo>
                  <a:cubicBezTo>
                    <a:pt x="247" y="129"/>
                    <a:pt x="247" y="129"/>
                    <a:pt x="247" y="129"/>
                  </a:cubicBezTo>
                  <a:cubicBezTo>
                    <a:pt x="253" y="129"/>
                    <a:pt x="258" y="125"/>
                    <a:pt x="258" y="119"/>
                  </a:cubicBezTo>
                  <a:cubicBezTo>
                    <a:pt x="258" y="31"/>
                    <a:pt x="258" y="31"/>
                    <a:pt x="258" y="31"/>
                  </a:cubicBezTo>
                  <a:cubicBezTo>
                    <a:pt x="258" y="25"/>
                    <a:pt x="253" y="20"/>
                    <a:pt x="247" y="20"/>
                  </a:cubicBezTo>
                  <a:close/>
                </a:path>
              </a:pathLst>
            </a:custGeom>
            <a:solidFill>
              <a:srgbClr val="DB9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BF30FEAA-36F6-4FC3-BB6D-E92DD4BD3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" y="2653"/>
              <a:ext cx="477" cy="783"/>
            </a:xfrm>
            <a:custGeom>
              <a:avLst/>
              <a:gdLst>
                <a:gd name="T0" fmla="*/ 199 w 199"/>
                <a:gd name="T1" fmla="*/ 302 h 328"/>
                <a:gd name="T2" fmla="*/ 174 w 199"/>
                <a:gd name="T3" fmla="*/ 325 h 328"/>
                <a:gd name="T4" fmla="*/ 24 w 199"/>
                <a:gd name="T5" fmla="*/ 292 h 328"/>
                <a:gd name="T6" fmla="*/ 0 w 199"/>
                <a:gd name="T7" fmla="*/ 257 h 328"/>
                <a:gd name="T8" fmla="*/ 0 w 199"/>
                <a:gd name="T9" fmla="*/ 26 h 328"/>
                <a:gd name="T10" fmla="*/ 24 w 199"/>
                <a:gd name="T11" fmla="*/ 3 h 328"/>
                <a:gd name="T12" fmla="*/ 174 w 199"/>
                <a:gd name="T13" fmla="*/ 36 h 328"/>
                <a:gd name="T14" fmla="*/ 199 w 199"/>
                <a:gd name="T15" fmla="*/ 70 h 328"/>
                <a:gd name="T16" fmla="*/ 199 w 199"/>
                <a:gd name="T17" fmla="*/ 30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328">
                  <a:moveTo>
                    <a:pt x="199" y="302"/>
                  </a:moveTo>
                  <a:cubicBezTo>
                    <a:pt x="199" y="318"/>
                    <a:pt x="188" y="328"/>
                    <a:pt x="174" y="325"/>
                  </a:cubicBezTo>
                  <a:cubicBezTo>
                    <a:pt x="24" y="292"/>
                    <a:pt x="24" y="292"/>
                    <a:pt x="24" y="292"/>
                  </a:cubicBezTo>
                  <a:cubicBezTo>
                    <a:pt x="11" y="289"/>
                    <a:pt x="0" y="273"/>
                    <a:pt x="0" y="25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0"/>
                    <a:pt x="11" y="0"/>
                    <a:pt x="24" y="3"/>
                  </a:cubicBezTo>
                  <a:cubicBezTo>
                    <a:pt x="174" y="36"/>
                    <a:pt x="174" y="36"/>
                    <a:pt x="174" y="36"/>
                  </a:cubicBezTo>
                  <a:cubicBezTo>
                    <a:pt x="188" y="39"/>
                    <a:pt x="199" y="54"/>
                    <a:pt x="199" y="70"/>
                  </a:cubicBezTo>
                  <a:lnTo>
                    <a:pt x="199" y="302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88" name="Picture 87">
            <a:extLst>
              <a:ext uri="{FF2B5EF4-FFF2-40B4-BE49-F238E27FC236}">
                <a16:creationId xmlns:a16="http://schemas.microsoft.com/office/drawing/2014/main" id="{C0D7BA4D-3D6F-4519-BF9B-3628D65123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7150"/>
          <a:stretch/>
        </p:blipFill>
        <p:spPr>
          <a:xfrm>
            <a:off x="9263481" y="1253235"/>
            <a:ext cx="957280" cy="538766"/>
          </a:xfrm>
          <a:prstGeom prst="rect">
            <a:avLst/>
          </a:prstGeom>
        </p:spPr>
      </p:pic>
      <p:grpSp>
        <p:nvGrpSpPr>
          <p:cNvPr id="79" name="Group 20">
            <a:extLst>
              <a:ext uri="{FF2B5EF4-FFF2-40B4-BE49-F238E27FC236}">
                <a16:creationId xmlns:a16="http://schemas.microsoft.com/office/drawing/2014/main" id="{F2C85DAA-7CB7-4B09-A152-F22F9B5930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51583" y="2513547"/>
            <a:ext cx="1204130" cy="1592303"/>
            <a:chOff x="3915" y="2947"/>
            <a:chExt cx="456" cy="603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80" name="Freeform 21">
              <a:extLst>
                <a:ext uri="{FF2B5EF4-FFF2-40B4-BE49-F238E27FC236}">
                  <a16:creationId xmlns:a16="http://schemas.microsoft.com/office/drawing/2014/main" id="{D87ED0C4-4114-4FA2-B7FB-29C2E2D35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947"/>
              <a:ext cx="456" cy="603"/>
            </a:xfrm>
            <a:custGeom>
              <a:avLst/>
              <a:gdLst>
                <a:gd name="T0" fmla="*/ 456 w 456"/>
                <a:gd name="T1" fmla="*/ 603 h 603"/>
                <a:gd name="T2" fmla="*/ 0 w 456"/>
                <a:gd name="T3" fmla="*/ 603 h 603"/>
                <a:gd name="T4" fmla="*/ 0 w 456"/>
                <a:gd name="T5" fmla="*/ 136 h 603"/>
                <a:gd name="T6" fmla="*/ 144 w 456"/>
                <a:gd name="T7" fmla="*/ 0 h 603"/>
                <a:gd name="T8" fmla="*/ 456 w 456"/>
                <a:gd name="T9" fmla="*/ 0 h 603"/>
                <a:gd name="T10" fmla="*/ 456 w 456"/>
                <a:gd name="T11" fmla="*/ 60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6" h="603">
                  <a:moveTo>
                    <a:pt x="456" y="603"/>
                  </a:moveTo>
                  <a:lnTo>
                    <a:pt x="0" y="603"/>
                  </a:lnTo>
                  <a:lnTo>
                    <a:pt x="0" y="136"/>
                  </a:lnTo>
                  <a:lnTo>
                    <a:pt x="144" y="0"/>
                  </a:lnTo>
                  <a:lnTo>
                    <a:pt x="456" y="0"/>
                  </a:lnTo>
                  <a:lnTo>
                    <a:pt x="456" y="603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73737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22">
              <a:extLst>
                <a:ext uri="{FF2B5EF4-FFF2-40B4-BE49-F238E27FC236}">
                  <a16:creationId xmlns:a16="http://schemas.microsoft.com/office/drawing/2014/main" id="{C2434950-C73E-45DF-9044-CC456A7C2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947"/>
              <a:ext cx="144" cy="136"/>
            </a:xfrm>
            <a:custGeom>
              <a:avLst/>
              <a:gdLst>
                <a:gd name="T0" fmla="*/ 144 w 144"/>
                <a:gd name="T1" fmla="*/ 136 h 136"/>
                <a:gd name="T2" fmla="*/ 0 w 144"/>
                <a:gd name="T3" fmla="*/ 136 h 136"/>
                <a:gd name="T4" fmla="*/ 144 w 144"/>
                <a:gd name="T5" fmla="*/ 0 h 136"/>
                <a:gd name="T6" fmla="*/ 144 w 144"/>
                <a:gd name="T7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136">
                  <a:moveTo>
                    <a:pt x="144" y="136"/>
                  </a:moveTo>
                  <a:lnTo>
                    <a:pt x="0" y="136"/>
                  </a:lnTo>
                  <a:lnTo>
                    <a:pt x="144" y="0"/>
                  </a:lnTo>
                  <a:lnTo>
                    <a:pt x="144" y="136"/>
                  </a:lnTo>
                  <a:close/>
                </a:path>
              </a:pathLst>
            </a:custGeom>
            <a:solidFill>
              <a:srgbClr val="737373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82" name="Picture 81">
            <a:extLst>
              <a:ext uri="{FF2B5EF4-FFF2-40B4-BE49-F238E27FC236}">
                <a16:creationId xmlns:a16="http://schemas.microsoft.com/office/drawing/2014/main" id="{F74CF950-49B2-46A3-B75E-14EE4DC0E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1366" y="3094340"/>
            <a:ext cx="1064564" cy="447437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5FF87C66-7F6C-4330-9D3A-AC338ED57A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7793" y="864646"/>
            <a:ext cx="2403465" cy="1404623"/>
          </a:xfrm>
          <a:prstGeom prst="rect">
            <a:avLst/>
          </a:prstGeom>
        </p:spPr>
      </p:pic>
      <p:grpSp>
        <p:nvGrpSpPr>
          <p:cNvPr id="101" name="Group 100">
            <a:extLst>
              <a:ext uri="{FF2B5EF4-FFF2-40B4-BE49-F238E27FC236}">
                <a16:creationId xmlns:a16="http://schemas.microsoft.com/office/drawing/2014/main" id="{075AE967-1562-4D4A-8508-3D877DDE07FC}"/>
              </a:ext>
            </a:extLst>
          </p:cNvPr>
          <p:cNvGrpSpPr/>
          <p:nvPr/>
        </p:nvGrpSpPr>
        <p:grpSpPr>
          <a:xfrm>
            <a:off x="4849440" y="1386648"/>
            <a:ext cx="2721228" cy="1352443"/>
            <a:chOff x="1331936" y="4939356"/>
            <a:chExt cx="2721228" cy="1352443"/>
          </a:xfrm>
        </p:grpSpPr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BC8BC84A-C3E9-41D6-8B5E-0A1C7382B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31936" y="4939356"/>
              <a:ext cx="2721228" cy="995349"/>
            </a:xfrm>
            <a:prstGeom prst="rect">
              <a:avLst/>
            </a:prstGeom>
          </p:spPr>
        </p:pic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1FFA0B92-008B-4D84-803C-0B9EC20FD1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23455" y="5483481"/>
              <a:ext cx="855160" cy="808318"/>
              <a:chOff x="3989331" y="4906506"/>
              <a:chExt cx="1752600" cy="1656599"/>
            </a:xfrm>
          </p:grpSpPr>
          <p:grpSp>
            <p:nvGrpSpPr>
              <p:cNvPr id="90" name="Group 4">
                <a:extLst>
                  <a:ext uri="{FF2B5EF4-FFF2-40B4-BE49-F238E27FC236}">
                    <a16:creationId xmlns:a16="http://schemas.microsoft.com/office/drawing/2014/main" id="{CF0BE07D-36D4-41AC-8022-2C126006B29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 flipH="1">
                <a:off x="3989331" y="4906506"/>
                <a:ext cx="1752600" cy="1656599"/>
                <a:chOff x="645" y="1325"/>
                <a:chExt cx="1104" cy="1003"/>
              </a:xfrm>
            </p:grpSpPr>
            <p:sp>
              <p:nvSpPr>
                <p:cNvPr id="92" name="AutoShape 3">
                  <a:extLst>
                    <a:ext uri="{FF2B5EF4-FFF2-40B4-BE49-F238E27FC236}">
                      <a16:creationId xmlns:a16="http://schemas.microsoft.com/office/drawing/2014/main" id="{C32CC2B8-B9CA-4B1C-8E31-27B8C89CDD42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45" y="1328"/>
                  <a:ext cx="1104" cy="9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Rectangle 5">
                  <a:extLst>
                    <a:ext uri="{FF2B5EF4-FFF2-40B4-BE49-F238E27FC236}">
                      <a16:creationId xmlns:a16="http://schemas.microsoft.com/office/drawing/2014/main" id="{AFE93568-02F5-4962-8523-3EEC66752B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1" y="1441"/>
                  <a:ext cx="680" cy="9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 6">
                  <a:extLst>
                    <a:ext uri="{FF2B5EF4-FFF2-40B4-BE49-F238E27FC236}">
                      <a16:creationId xmlns:a16="http://schemas.microsoft.com/office/drawing/2014/main" id="{7C10B1DC-EC76-4884-8B60-4B4C4D456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1" y="1325"/>
                  <a:ext cx="786" cy="900"/>
                </a:xfrm>
                <a:custGeom>
                  <a:avLst/>
                  <a:gdLst>
                    <a:gd name="T0" fmla="*/ 205 w 237"/>
                    <a:gd name="T1" fmla="*/ 0 h 271"/>
                    <a:gd name="T2" fmla="*/ 0 w 237"/>
                    <a:gd name="T3" fmla="*/ 0 h 271"/>
                    <a:gd name="T4" fmla="*/ 0 w 237"/>
                    <a:gd name="T5" fmla="*/ 63 h 271"/>
                    <a:gd name="T6" fmla="*/ 31 w 237"/>
                    <a:gd name="T7" fmla="*/ 63 h 271"/>
                    <a:gd name="T8" fmla="*/ 31 w 237"/>
                    <a:gd name="T9" fmla="*/ 271 h 271"/>
                    <a:gd name="T10" fmla="*/ 237 w 237"/>
                    <a:gd name="T11" fmla="*/ 271 h 271"/>
                    <a:gd name="T12" fmla="*/ 237 w 237"/>
                    <a:gd name="T13" fmla="*/ 31 h 271"/>
                    <a:gd name="T14" fmla="*/ 205 w 237"/>
                    <a:gd name="T15" fmla="*/ 0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37" h="271">
                      <a:moveTo>
                        <a:pt x="20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31" y="63"/>
                        <a:pt x="31" y="63"/>
                        <a:pt x="31" y="63"/>
                      </a:cubicBezTo>
                      <a:cubicBezTo>
                        <a:pt x="31" y="271"/>
                        <a:pt x="31" y="271"/>
                        <a:pt x="31" y="271"/>
                      </a:cubicBezTo>
                      <a:cubicBezTo>
                        <a:pt x="237" y="271"/>
                        <a:pt x="237" y="271"/>
                        <a:pt x="237" y="271"/>
                      </a:cubicBezTo>
                      <a:cubicBezTo>
                        <a:pt x="237" y="31"/>
                        <a:pt x="237" y="31"/>
                        <a:pt x="237" y="31"/>
                      </a:cubicBezTo>
                      <a:cubicBezTo>
                        <a:pt x="237" y="14"/>
                        <a:pt x="223" y="0"/>
                        <a:pt x="20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505050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Oval 7">
                  <a:extLst>
                    <a:ext uri="{FF2B5EF4-FFF2-40B4-BE49-F238E27FC236}">
                      <a16:creationId xmlns:a16="http://schemas.microsoft.com/office/drawing/2014/main" id="{7CD493A5-D435-4BFB-A63B-C3B618FDED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5" y="1325"/>
                  <a:ext cx="209" cy="20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Oval 8">
                  <a:extLst>
                    <a:ext uri="{FF2B5EF4-FFF2-40B4-BE49-F238E27FC236}">
                      <a16:creationId xmlns:a16="http://schemas.microsoft.com/office/drawing/2014/main" id="{32ADCEFF-70A0-4FB5-AD1C-38CFF8BDAB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7" y="2119"/>
                  <a:ext cx="209" cy="209"/>
                </a:xfrm>
                <a:prstGeom prst="ellipse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Rectangle 9">
                  <a:extLst>
                    <a:ext uri="{FF2B5EF4-FFF2-40B4-BE49-F238E27FC236}">
                      <a16:creationId xmlns:a16="http://schemas.microsoft.com/office/drawing/2014/main" id="{AC642F86-B03F-4134-9FBC-B14F6CA7D9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0" y="2119"/>
                  <a:ext cx="680" cy="209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Oval 10">
                  <a:extLst>
                    <a:ext uri="{FF2B5EF4-FFF2-40B4-BE49-F238E27FC236}">
                      <a16:creationId xmlns:a16="http://schemas.microsoft.com/office/drawing/2014/main" id="{040C95F1-0E91-4CA3-9B11-CADE3FF2B4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" y="2119"/>
                  <a:ext cx="209" cy="20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91" name="Picture 4">
                <a:extLst>
                  <a:ext uri="{FF2B5EF4-FFF2-40B4-BE49-F238E27FC236}">
                    <a16:creationId xmlns:a16="http://schemas.microsoft.com/office/drawing/2014/main" id="{5D3AB9C8-17D7-49BC-BF4C-C36C795F45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75604" y="5272198"/>
                <a:ext cx="580053" cy="6783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103" name="Picture 102">
            <a:extLst>
              <a:ext uri="{FF2B5EF4-FFF2-40B4-BE49-F238E27FC236}">
                <a16:creationId xmlns:a16="http://schemas.microsoft.com/office/drawing/2014/main" id="{1B0A8054-612B-44AE-8B74-13F6A8D51B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1881" y="856459"/>
            <a:ext cx="2403465" cy="1404623"/>
          </a:xfrm>
          <a:prstGeom prst="rect">
            <a:avLst/>
          </a:prstGeom>
        </p:spPr>
      </p:pic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FB0539E-9FA5-40D8-B0E6-BF535EBB4C5B}"/>
              </a:ext>
            </a:extLst>
          </p:cNvPr>
          <p:cNvGrpSpPr/>
          <p:nvPr/>
        </p:nvGrpSpPr>
        <p:grpSpPr>
          <a:xfrm>
            <a:off x="1797905" y="1747419"/>
            <a:ext cx="1731910" cy="863723"/>
            <a:chOff x="817510" y="5686236"/>
            <a:chExt cx="2349584" cy="1171764"/>
          </a:xfrm>
        </p:grpSpPr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7CC60A1A-401B-45E1-B2D9-7C21B3246C5F}"/>
                </a:ext>
              </a:extLst>
            </p:cNvPr>
            <p:cNvSpPr/>
            <p:nvPr/>
          </p:nvSpPr>
          <p:spPr bwMode="auto">
            <a:xfrm>
              <a:off x="817510" y="5686236"/>
              <a:ext cx="2349584" cy="1171764"/>
            </a:xfrm>
            <a:prstGeom prst="roundRect">
              <a:avLst/>
            </a:prstGeom>
            <a:ln w="38100"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10815E6F-BAC7-4A00-B450-CE81B49939B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16481" y="6135986"/>
              <a:ext cx="824545" cy="307457"/>
            </a:xfrm>
            <a:prstGeom prst="rect">
              <a:avLst/>
            </a:prstGeom>
          </p:spPr>
        </p:pic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5AE2B2A6-AADC-4DB0-BD79-CF0B5BF47AD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203251" y="5927427"/>
              <a:ext cx="590392" cy="724573"/>
            </a:xfrm>
            <a:prstGeom prst="rect">
              <a:avLst/>
            </a:prstGeom>
          </p:spPr>
        </p:pic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C1C01317-F6FD-4DA3-87BD-215A0B5560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162157" y="6289714"/>
              <a:ext cx="824545" cy="307457"/>
            </a:xfrm>
            <a:prstGeom prst="rect">
              <a:avLst/>
            </a:prstGeom>
          </p:spPr>
        </p:pic>
      </p:grpSp>
      <p:grpSp>
        <p:nvGrpSpPr>
          <p:cNvPr id="117" name="Group 13">
            <a:extLst>
              <a:ext uri="{FF2B5EF4-FFF2-40B4-BE49-F238E27FC236}">
                <a16:creationId xmlns:a16="http://schemas.microsoft.com/office/drawing/2014/main" id="{8DBB8191-CB5B-4106-B60F-A95DCEE5D87A}"/>
              </a:ext>
            </a:extLst>
          </p:cNvPr>
          <p:cNvGrpSpPr>
            <a:grpSpLocks noChangeAspect="1"/>
          </p:cNvGrpSpPr>
          <p:nvPr/>
        </p:nvGrpSpPr>
        <p:grpSpPr bwMode="auto">
          <a:xfrm rot="269798">
            <a:off x="5484749" y="4053965"/>
            <a:ext cx="1017752" cy="1842480"/>
            <a:chOff x="2093" y="1089"/>
            <a:chExt cx="522" cy="945"/>
          </a:xfrm>
        </p:grpSpPr>
        <p:sp>
          <p:nvSpPr>
            <p:cNvPr id="118" name="AutoShape 12">
              <a:extLst>
                <a:ext uri="{FF2B5EF4-FFF2-40B4-BE49-F238E27FC236}">
                  <a16:creationId xmlns:a16="http://schemas.microsoft.com/office/drawing/2014/main" id="{000147DE-7DD9-47BC-9732-1E7156E204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93" y="1089"/>
              <a:ext cx="522" cy="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14">
              <a:extLst>
                <a:ext uri="{FF2B5EF4-FFF2-40B4-BE49-F238E27FC236}">
                  <a16:creationId xmlns:a16="http://schemas.microsoft.com/office/drawing/2014/main" id="{68D20106-B767-4677-8723-05522FBC0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" y="1094"/>
              <a:ext cx="522" cy="935"/>
            </a:xfrm>
            <a:custGeom>
              <a:avLst/>
              <a:gdLst>
                <a:gd name="T0" fmla="*/ 108 w 108"/>
                <a:gd name="T1" fmla="*/ 188 h 196"/>
                <a:gd name="T2" fmla="*/ 99 w 108"/>
                <a:gd name="T3" fmla="*/ 196 h 196"/>
                <a:gd name="T4" fmla="*/ 8 w 108"/>
                <a:gd name="T5" fmla="*/ 196 h 196"/>
                <a:gd name="T6" fmla="*/ 0 w 108"/>
                <a:gd name="T7" fmla="*/ 188 h 196"/>
                <a:gd name="T8" fmla="*/ 0 w 108"/>
                <a:gd name="T9" fmla="*/ 8 h 196"/>
                <a:gd name="T10" fmla="*/ 8 w 108"/>
                <a:gd name="T11" fmla="*/ 0 h 196"/>
                <a:gd name="T12" fmla="*/ 99 w 108"/>
                <a:gd name="T13" fmla="*/ 0 h 196"/>
                <a:gd name="T14" fmla="*/ 108 w 108"/>
                <a:gd name="T15" fmla="*/ 8 h 196"/>
                <a:gd name="T16" fmla="*/ 108 w 108"/>
                <a:gd name="T17" fmla="*/ 188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96">
                  <a:moveTo>
                    <a:pt x="108" y="188"/>
                  </a:moveTo>
                  <a:cubicBezTo>
                    <a:pt x="108" y="192"/>
                    <a:pt x="104" y="196"/>
                    <a:pt x="99" y="196"/>
                  </a:cubicBezTo>
                  <a:cubicBezTo>
                    <a:pt x="8" y="196"/>
                    <a:pt x="8" y="196"/>
                    <a:pt x="8" y="196"/>
                  </a:cubicBezTo>
                  <a:cubicBezTo>
                    <a:pt x="4" y="196"/>
                    <a:pt x="0" y="192"/>
                    <a:pt x="0" y="18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04" y="0"/>
                    <a:pt x="108" y="4"/>
                    <a:pt x="108" y="8"/>
                  </a:cubicBezTo>
                  <a:lnTo>
                    <a:pt x="108" y="188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Rectangle 15">
              <a:extLst>
                <a:ext uri="{FF2B5EF4-FFF2-40B4-BE49-F238E27FC236}">
                  <a16:creationId xmlns:a16="http://schemas.microsoft.com/office/drawing/2014/main" id="{34BFD9CA-0C6E-4348-8024-05F2050E1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2" y="1227"/>
              <a:ext cx="469" cy="66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16">
              <a:extLst>
                <a:ext uri="{FF2B5EF4-FFF2-40B4-BE49-F238E27FC236}">
                  <a16:creationId xmlns:a16="http://schemas.microsoft.com/office/drawing/2014/main" id="{7B80F25D-07A1-4A3D-A875-4F0E546D0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" y="1146"/>
              <a:ext cx="285" cy="15"/>
            </a:xfrm>
            <a:custGeom>
              <a:avLst/>
              <a:gdLst>
                <a:gd name="T0" fmla="*/ 59 w 59"/>
                <a:gd name="T1" fmla="*/ 2 h 3"/>
                <a:gd name="T2" fmla="*/ 58 w 59"/>
                <a:gd name="T3" fmla="*/ 3 h 3"/>
                <a:gd name="T4" fmla="*/ 1 w 59"/>
                <a:gd name="T5" fmla="*/ 3 h 3"/>
                <a:gd name="T6" fmla="*/ 0 w 59"/>
                <a:gd name="T7" fmla="*/ 2 h 3"/>
                <a:gd name="T8" fmla="*/ 0 w 59"/>
                <a:gd name="T9" fmla="*/ 2 h 3"/>
                <a:gd name="T10" fmla="*/ 1 w 59"/>
                <a:gd name="T11" fmla="*/ 0 h 3"/>
                <a:gd name="T12" fmla="*/ 58 w 59"/>
                <a:gd name="T13" fmla="*/ 0 h 3"/>
                <a:gd name="T14" fmla="*/ 59 w 59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3">
                  <a:moveTo>
                    <a:pt x="59" y="2"/>
                  </a:moveTo>
                  <a:cubicBezTo>
                    <a:pt x="59" y="2"/>
                    <a:pt x="59" y="3"/>
                    <a:pt x="58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9" y="0"/>
                    <a:pt x="59" y="1"/>
                    <a:pt x="59" y="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17">
              <a:extLst>
                <a:ext uri="{FF2B5EF4-FFF2-40B4-BE49-F238E27FC236}">
                  <a16:creationId xmlns:a16="http://schemas.microsoft.com/office/drawing/2014/main" id="{19423912-42A1-403C-95C5-2A2208AD0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" y="1948"/>
              <a:ext cx="53" cy="29"/>
            </a:xfrm>
            <a:custGeom>
              <a:avLst/>
              <a:gdLst>
                <a:gd name="T0" fmla="*/ 11 w 11"/>
                <a:gd name="T1" fmla="*/ 3 h 6"/>
                <a:gd name="T2" fmla="*/ 8 w 11"/>
                <a:gd name="T3" fmla="*/ 6 h 6"/>
                <a:gd name="T4" fmla="*/ 3 w 11"/>
                <a:gd name="T5" fmla="*/ 6 h 6"/>
                <a:gd name="T6" fmla="*/ 0 w 11"/>
                <a:gd name="T7" fmla="*/ 3 h 6"/>
                <a:gd name="T8" fmla="*/ 0 w 11"/>
                <a:gd name="T9" fmla="*/ 3 h 6"/>
                <a:gd name="T10" fmla="*/ 3 w 11"/>
                <a:gd name="T11" fmla="*/ 0 h 6"/>
                <a:gd name="T12" fmla="*/ 8 w 11"/>
                <a:gd name="T13" fmla="*/ 0 h 6"/>
                <a:gd name="T14" fmla="*/ 11 w 11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11" y="3"/>
                  </a:moveTo>
                  <a:cubicBezTo>
                    <a:pt x="11" y="5"/>
                    <a:pt x="10" y="6"/>
                    <a:pt x="8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1" y="2"/>
                    <a:pt x="11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18">
              <a:extLst>
                <a:ext uri="{FF2B5EF4-FFF2-40B4-BE49-F238E27FC236}">
                  <a16:creationId xmlns:a16="http://schemas.microsoft.com/office/drawing/2014/main" id="{657661C4-623C-43CA-8580-4B3F43DAC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8" y="1948"/>
              <a:ext cx="53" cy="29"/>
            </a:xfrm>
            <a:custGeom>
              <a:avLst/>
              <a:gdLst>
                <a:gd name="T0" fmla="*/ 11 w 11"/>
                <a:gd name="T1" fmla="*/ 3 h 6"/>
                <a:gd name="T2" fmla="*/ 8 w 11"/>
                <a:gd name="T3" fmla="*/ 6 h 6"/>
                <a:gd name="T4" fmla="*/ 3 w 11"/>
                <a:gd name="T5" fmla="*/ 6 h 6"/>
                <a:gd name="T6" fmla="*/ 0 w 11"/>
                <a:gd name="T7" fmla="*/ 3 h 6"/>
                <a:gd name="T8" fmla="*/ 0 w 11"/>
                <a:gd name="T9" fmla="*/ 3 h 6"/>
                <a:gd name="T10" fmla="*/ 3 w 11"/>
                <a:gd name="T11" fmla="*/ 0 h 6"/>
                <a:gd name="T12" fmla="*/ 8 w 11"/>
                <a:gd name="T13" fmla="*/ 0 h 6"/>
                <a:gd name="T14" fmla="*/ 11 w 11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11" y="3"/>
                  </a:moveTo>
                  <a:cubicBezTo>
                    <a:pt x="11" y="5"/>
                    <a:pt x="9" y="6"/>
                    <a:pt x="8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1" y="2"/>
                    <a:pt x="11" y="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19">
              <a:extLst>
                <a:ext uri="{FF2B5EF4-FFF2-40B4-BE49-F238E27FC236}">
                  <a16:creationId xmlns:a16="http://schemas.microsoft.com/office/drawing/2014/main" id="{B9644BCF-E33D-4118-AA38-4CA8C90CD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1" y="1934"/>
              <a:ext cx="111" cy="57"/>
            </a:xfrm>
            <a:custGeom>
              <a:avLst/>
              <a:gdLst>
                <a:gd name="T0" fmla="*/ 23 w 23"/>
                <a:gd name="T1" fmla="*/ 6 h 12"/>
                <a:gd name="T2" fmla="*/ 17 w 23"/>
                <a:gd name="T3" fmla="*/ 12 h 12"/>
                <a:gd name="T4" fmla="*/ 6 w 23"/>
                <a:gd name="T5" fmla="*/ 12 h 12"/>
                <a:gd name="T6" fmla="*/ 0 w 23"/>
                <a:gd name="T7" fmla="*/ 6 h 12"/>
                <a:gd name="T8" fmla="*/ 0 w 23"/>
                <a:gd name="T9" fmla="*/ 6 h 12"/>
                <a:gd name="T10" fmla="*/ 6 w 23"/>
                <a:gd name="T11" fmla="*/ 0 h 12"/>
                <a:gd name="T12" fmla="*/ 17 w 23"/>
                <a:gd name="T13" fmla="*/ 0 h 12"/>
                <a:gd name="T14" fmla="*/ 23 w 23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2">
                  <a:moveTo>
                    <a:pt x="23" y="6"/>
                  </a:moveTo>
                  <a:cubicBezTo>
                    <a:pt x="23" y="10"/>
                    <a:pt x="21" y="12"/>
                    <a:pt x="1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F0BB50CD-1816-4B61-BF5B-DDBA6F19AC79}"/>
              </a:ext>
            </a:extLst>
          </p:cNvPr>
          <p:cNvGrpSpPr/>
          <p:nvPr/>
        </p:nvGrpSpPr>
        <p:grpSpPr>
          <a:xfrm>
            <a:off x="5536114" y="4406946"/>
            <a:ext cx="850024" cy="1170871"/>
            <a:chOff x="5438681" y="4953047"/>
            <a:chExt cx="850024" cy="1170871"/>
          </a:xfrm>
        </p:grpSpPr>
        <p:pic>
          <p:nvPicPr>
            <p:cNvPr id="125" name="Picture 124" descr="A white flower on a plant&#10;&#10;Description automatically generated">
              <a:extLst>
                <a:ext uri="{FF2B5EF4-FFF2-40B4-BE49-F238E27FC236}">
                  <a16:creationId xmlns:a16="http://schemas.microsoft.com/office/drawing/2014/main" id="{CF6D5611-ADA0-45DE-A7E1-7B394242F6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1"/>
                </a:ext>
              </a:extLst>
            </a:blip>
            <a:stretch>
              <a:fillRect/>
            </a:stretch>
          </p:blipFill>
          <p:spPr>
            <a:xfrm rot="250668">
              <a:off x="5536853" y="4953047"/>
              <a:ext cx="751852" cy="75185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26" name="Rectangle: Rounded Corners 125">
              <a:extLst>
                <a:ext uri="{FF2B5EF4-FFF2-40B4-BE49-F238E27FC236}">
                  <a16:creationId xmlns:a16="http://schemas.microsoft.com/office/drawing/2014/main" id="{73708331-08E1-4B22-9233-7E3D50C67F91}"/>
                </a:ext>
              </a:extLst>
            </p:cNvPr>
            <p:cNvSpPr/>
            <p:nvPr/>
          </p:nvSpPr>
          <p:spPr bwMode="auto">
            <a:xfrm rot="318001">
              <a:off x="5438681" y="5775026"/>
              <a:ext cx="844784" cy="34889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?</a:t>
              </a:r>
            </a:p>
          </p:txBody>
        </p:sp>
      </p:grp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5A828C95-2E37-436E-A228-7378D1384A4D}"/>
              </a:ext>
            </a:extLst>
          </p:cNvPr>
          <p:cNvCxnSpPr/>
          <p:nvPr/>
        </p:nvCxnSpPr>
        <p:spPr>
          <a:xfrm>
            <a:off x="3675767" y="1747419"/>
            <a:ext cx="1471518" cy="0"/>
          </a:xfrm>
          <a:prstGeom prst="straightConnector1">
            <a:avLst/>
          </a:prstGeom>
          <a:ln w="76200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842C64AF-4FBB-4A2D-ADC3-4DE87B01A6C4}"/>
              </a:ext>
            </a:extLst>
          </p:cNvPr>
          <p:cNvCxnSpPr>
            <a:cxnSpLocks/>
          </p:cNvCxnSpPr>
          <p:nvPr/>
        </p:nvCxnSpPr>
        <p:spPr>
          <a:xfrm flipH="1">
            <a:off x="7381258" y="1747419"/>
            <a:ext cx="1471518" cy="0"/>
          </a:xfrm>
          <a:prstGeom prst="straightConnector1">
            <a:avLst/>
          </a:prstGeom>
          <a:ln w="76200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E009E0D-C4D3-4B19-A6F1-41D4EC76CEE9}"/>
              </a:ext>
            </a:extLst>
          </p:cNvPr>
          <p:cNvCxnSpPr>
            <a:cxnSpLocks/>
          </p:cNvCxnSpPr>
          <p:nvPr/>
        </p:nvCxnSpPr>
        <p:spPr>
          <a:xfrm flipV="1">
            <a:off x="6050635" y="2736675"/>
            <a:ext cx="58958" cy="1280229"/>
          </a:xfrm>
          <a:prstGeom prst="straightConnector1">
            <a:avLst/>
          </a:prstGeom>
          <a:ln w="76200">
            <a:solidFill>
              <a:schemeClr val="accent2"/>
            </a:solidFill>
            <a:prstDash val="sysDot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E452698-6040-4A3E-A2E4-807A276E5A92}"/>
              </a:ext>
            </a:extLst>
          </p:cNvPr>
          <p:cNvCxnSpPr>
            <a:cxnSpLocks/>
          </p:cNvCxnSpPr>
          <p:nvPr/>
        </p:nvCxnSpPr>
        <p:spPr>
          <a:xfrm flipH="1">
            <a:off x="6050635" y="2783644"/>
            <a:ext cx="25488" cy="1233260"/>
          </a:xfrm>
          <a:prstGeom prst="straightConnector1">
            <a:avLst/>
          </a:prstGeom>
          <a:ln w="76200">
            <a:solidFill>
              <a:schemeClr val="accent2"/>
            </a:solidFill>
            <a:prstDash val="sysDot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tangle: Rounded Corners 136">
            <a:extLst>
              <a:ext uri="{FF2B5EF4-FFF2-40B4-BE49-F238E27FC236}">
                <a16:creationId xmlns:a16="http://schemas.microsoft.com/office/drawing/2014/main" id="{3245D310-12C3-4A19-A2D4-E82776C8772A}"/>
              </a:ext>
            </a:extLst>
          </p:cNvPr>
          <p:cNvSpPr/>
          <p:nvPr/>
        </p:nvSpPr>
        <p:spPr bwMode="auto">
          <a:xfrm rot="318001">
            <a:off x="5544774" y="5233940"/>
            <a:ext cx="844784" cy="34889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tos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8423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3.7037E-6 L 0.31042 -0.2213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521" y="-11065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2.59259E-6 L 0.30794 -0.21991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91" y="-109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00"/>
                            </p:stCondLst>
                            <p:childTnLst>
                              <p:par>
                                <p:cTn id="6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000"/>
                            </p:stCondLst>
                            <p:childTnLst>
                              <p:par>
                                <p:cTn id="79" presetID="2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80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5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09BB19-3A9B-41CD-97D8-7B60813D78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" y="0"/>
            <a:ext cx="12188825" cy="273486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D9538F1D-4CD7-4A99-9141-242854CD70B7}"/>
              </a:ext>
            </a:extLst>
          </p:cNvPr>
          <p:cNvSpPr/>
          <p:nvPr/>
        </p:nvSpPr>
        <p:spPr>
          <a:xfrm rot="10800000" flipV="1">
            <a:off x="1588" y="1"/>
            <a:ext cx="12192000" cy="27305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6000">
                <a:srgbClr val="000000">
                  <a:alpha val="30000"/>
                </a:srgbClr>
              </a:gs>
              <a:gs pos="100000">
                <a:srgbClr val="000000">
                  <a:alpha val="7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1088105">
              <a:defRPr/>
            </a:pPr>
            <a:endParaRPr lang="en-US" dirty="0" err="1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9D5947A-81A1-4963-ABF3-1AFA04540BFA}"/>
              </a:ext>
            </a:extLst>
          </p:cNvPr>
          <p:cNvSpPr/>
          <p:nvPr/>
        </p:nvSpPr>
        <p:spPr>
          <a:xfrm>
            <a:off x="355157" y="3970116"/>
            <a:ext cx="11486006" cy="239596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88105">
              <a:defRPr/>
            </a:pPr>
            <a:endParaRPr lang="en-US" sz="2400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7" name="Straight Arrow Connector 56"/>
          <p:cNvCxnSpPr>
            <a:cxnSpLocks/>
          </p:cNvCxnSpPr>
          <p:nvPr/>
        </p:nvCxnSpPr>
        <p:spPr>
          <a:xfrm>
            <a:off x="2889090" y="3244297"/>
            <a:ext cx="548640" cy="0"/>
          </a:xfrm>
          <a:prstGeom prst="straightConnector1">
            <a:avLst/>
          </a:prstGeom>
          <a:ln w="9525" cap="rnd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365568" y="2874966"/>
            <a:ext cx="237744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Envision what’s possible 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583812" y="2874966"/>
            <a:ext cx="237744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Immersive engagements 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0020301" y="2874966"/>
            <a:ext cx="182880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Business outcomes</a:t>
            </a:r>
          </a:p>
        </p:txBody>
      </p:sp>
      <p:sp>
        <p:nvSpPr>
          <p:cNvPr id="69" name="Rectangle 68"/>
          <p:cNvSpPr/>
          <p:nvPr/>
        </p:nvSpPr>
        <p:spPr>
          <a:xfrm>
            <a:off x="440310" y="4227141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Ideation Session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"/>
              </a:rPr>
              <a:t>Explores the impact of digital transformation and innovation to help customers with vision-setting, strategy, roadmaps and organizational alignment.</a:t>
            </a:r>
            <a:endParaRPr lang="en-US" sz="1200" dirty="0">
              <a:solidFill>
                <a:srgbClr val="FFFFFF"/>
              </a:solidFill>
              <a:latin typeface="Segoe UI"/>
              <a:cs typeface="Segoe UI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40310" y="5299589"/>
            <a:ext cx="3723051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Hackathon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hands-on, intensely collaborative and inclusive  sprint to determine the applicability of specific technologies against a set of business use cases. </a:t>
            </a:r>
          </a:p>
        </p:txBody>
      </p:sp>
      <p:sp>
        <p:nvSpPr>
          <p:cNvPr id="71" name="Rectangle 70"/>
          <p:cNvSpPr/>
          <p:nvPr/>
        </p:nvSpPr>
        <p:spPr>
          <a:xfrm>
            <a:off x="4238794" y="4227141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Strategy Briefing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strategic business and technical discussion to gain understanding of customer goals and challenges. Align Microsoft capabilities and solutions. </a:t>
            </a:r>
          </a:p>
        </p:txBody>
      </p:sp>
      <p:sp>
        <p:nvSpPr>
          <p:cNvPr id="72" name="Rectangle 71"/>
          <p:cNvSpPr/>
          <p:nvPr/>
        </p:nvSpPr>
        <p:spPr>
          <a:xfrm>
            <a:off x="4238794" y="5299585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Workshop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</a:t>
            </a:r>
            <a:r>
              <a:rPr lang="en-US" sz="1200">
                <a:solidFill>
                  <a:srgbClr val="505050"/>
                </a:solidFill>
                <a:latin typeface="Segoe UI"/>
              </a:rPr>
              <a:t>hands-on</a:t>
            </a:r>
            <a:r>
              <a:rPr lang="en-US" sz="1200" dirty="0">
                <a:solidFill>
                  <a:srgbClr val="505050"/>
                </a:solidFill>
                <a:latin typeface="Segoe UI"/>
              </a:rPr>
              <a:t>, immersive education experience to provide the skills and familiarity of a technology to enable solution development and adoption.</a:t>
            </a:r>
            <a:r>
              <a:rPr lang="en-US" sz="1200">
                <a:solidFill>
                  <a:srgbClr val="505050"/>
                </a:solidFill>
                <a:latin typeface="Segoe UI"/>
              </a:rPr>
              <a:t> </a:t>
            </a:r>
          </a:p>
        </p:txBody>
      </p:sp>
      <p:sp>
        <p:nvSpPr>
          <p:cNvPr id="73" name="Rectangle 72"/>
          <p:cNvSpPr/>
          <p:nvPr/>
        </p:nvSpPr>
        <p:spPr>
          <a:xfrm>
            <a:off x="8037278" y="4227141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Architecture Design Session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Synthesizes the business and technical requirements for a solution including an initial scope and a high-level architecture to drive next steps. </a:t>
            </a:r>
          </a:p>
        </p:txBody>
      </p:sp>
      <p:sp>
        <p:nvSpPr>
          <p:cNvPr id="74" name="Rectangle 73"/>
          <p:cNvSpPr/>
          <p:nvPr/>
        </p:nvSpPr>
        <p:spPr>
          <a:xfrm>
            <a:off x="8037278" y="5299588"/>
            <a:ext cx="3718732" cy="98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8" tIns="60798" rIns="60798" bIns="60798" numCol="1" spcCol="1270" anchor="t" anchorCtr="0">
            <a:noAutofit/>
          </a:bodyPr>
          <a:lstStyle/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600" dirty="0">
                <a:solidFill>
                  <a:srgbClr val="505050"/>
                </a:solidFill>
                <a:latin typeface="Segoe UI"/>
              </a:rPr>
              <a:t>Rapid Prototype</a:t>
            </a:r>
          </a:p>
          <a:p>
            <a:pPr defTabSz="53340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</a:rPr>
              <a:t>A tailored hands-on experience to demonstrate the key technical capabilities of a solution and address any challenges to accelerate decision making. </a:t>
            </a:r>
            <a:endParaRPr lang="en-US" sz="1200" dirty="0">
              <a:solidFill>
                <a:srgbClr val="505050"/>
              </a:solidFill>
              <a:latin typeface="Segoe UI"/>
              <a:cs typeface="Segoe UI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163360" y="3733093"/>
            <a:ext cx="3869600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tIns="0" rIns="36000" bIns="0" numCol="1" rtlCol="0" anchor="ctr">
            <a:spAutoFit/>
          </a:bodyPr>
          <a:lstStyle/>
          <a:p>
            <a:pPr algn="ctr" defTabSz="1088105" fontAlgn="t">
              <a:spcAft>
                <a:spcPts val="200"/>
              </a:spcAft>
              <a:defRPr/>
            </a:pPr>
            <a:r>
              <a:rPr lang="en-US" sz="2400" dirty="0">
                <a:solidFill>
                  <a:srgbClr val="0078D7"/>
                </a:solidFill>
                <a:latin typeface="Segoe UI Light"/>
                <a:cs typeface="Segoe UI Semibold" panose="020B0702040204020203" pitchFamily="34" charset="0"/>
              </a:rPr>
              <a:t>Engagements</a:t>
            </a:r>
          </a:p>
        </p:txBody>
      </p:sp>
      <p:cxnSp>
        <p:nvCxnSpPr>
          <p:cNvPr id="24" name="Straight Arrow Connector 23"/>
          <p:cNvCxnSpPr>
            <a:cxnSpLocks/>
          </p:cNvCxnSpPr>
          <p:nvPr/>
        </p:nvCxnSpPr>
        <p:spPr>
          <a:xfrm>
            <a:off x="6107334" y="3244297"/>
            <a:ext cx="548640" cy="0"/>
          </a:xfrm>
          <a:prstGeom prst="straightConnector1">
            <a:avLst/>
          </a:prstGeom>
          <a:ln w="9525" cap="rnd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</p:cNvCxnSpPr>
          <p:nvPr/>
        </p:nvCxnSpPr>
        <p:spPr>
          <a:xfrm>
            <a:off x="9325578" y="3244297"/>
            <a:ext cx="548640" cy="0"/>
          </a:xfrm>
          <a:prstGeom prst="straightConnector1">
            <a:avLst/>
          </a:prstGeom>
          <a:ln w="9525" cap="rnd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4318BD0-096D-42F5-A4C3-8CA54856C293}"/>
              </a:ext>
            </a:extLst>
          </p:cNvPr>
          <p:cNvSpPr/>
          <p:nvPr/>
        </p:nvSpPr>
        <p:spPr>
          <a:xfrm>
            <a:off x="342901" y="1930284"/>
            <a:ext cx="11487150" cy="800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88105">
              <a:defRPr/>
            </a:pPr>
            <a:r>
              <a:rPr lang="en-US" sz="4000" dirty="0">
                <a:solidFill>
                  <a:srgbClr val="FFFFFF"/>
                </a:solidFill>
                <a:latin typeface="Segoe UI Light"/>
              </a:rPr>
              <a:t>Our Process: Delivering the Right Experienc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C12B11-24AF-44BF-A940-119C820351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105">
              <a:defRPr/>
            </a:pPr>
            <a:fld id="{FAADACFB-7C71-4E89-89D2-7BBA40B7BFA9}" type="slidenum">
              <a:rPr lang="en-US">
                <a:solidFill>
                  <a:srgbClr val="FFFFFF">
                    <a:lumMod val="50000"/>
                  </a:srgbClr>
                </a:solidFill>
              </a:rPr>
              <a:pPr defTabSz="1088105">
                <a:defRPr/>
              </a:pPr>
              <a:t>2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B2AEC90-2AA6-4FEE-B7BA-8CCFCC1E7512}"/>
              </a:ext>
            </a:extLst>
          </p:cNvPr>
          <p:cNvSpPr/>
          <p:nvPr/>
        </p:nvSpPr>
        <p:spPr>
          <a:xfrm>
            <a:off x="7097720" y="2874965"/>
            <a:ext cx="182880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088105" fontAlgn="t">
              <a:defRPr/>
            </a:pPr>
            <a:r>
              <a:rPr lang="en-US" dirty="0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Aligned</a:t>
            </a:r>
            <a:br>
              <a:rPr lang="en-US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</a:br>
            <a:r>
              <a:rPr lang="en-US">
                <a:solidFill>
                  <a:srgbClr val="505050"/>
                </a:solidFill>
                <a:latin typeface="Segoe UI"/>
                <a:cs typeface="Segoe UI Semibold" panose="020B0702040204020203" pitchFamily="34" charset="0"/>
              </a:rPr>
              <a:t>solutions </a:t>
            </a:r>
            <a:endParaRPr lang="en-US" dirty="0">
              <a:solidFill>
                <a:srgbClr val="505050"/>
              </a:solidFill>
              <a:latin typeface="Segoe UI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777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299BCAC-FBFE-46F1-851E-9174CB5AF2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028" y="1048033"/>
            <a:ext cx="10097682" cy="524870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140C23-28F0-4A01-A368-AE1BD7FCD6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8105" y="3164874"/>
            <a:ext cx="1231066" cy="2451238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498EEEE-089F-40A4-8516-6F7E645BD617}"/>
              </a:ext>
            </a:extLst>
          </p:cNvPr>
          <p:cNvCxnSpPr/>
          <p:nvPr/>
        </p:nvCxnSpPr>
        <p:spPr>
          <a:xfrm>
            <a:off x="11439085" y="2760298"/>
            <a:ext cx="0" cy="357282"/>
          </a:xfrm>
          <a:prstGeom prst="straightConnector1">
            <a:avLst/>
          </a:prstGeom>
          <a:ln w="12700">
            <a:solidFill>
              <a:srgbClr val="7030A0"/>
            </a:solidFill>
            <a:prstDash val="sysDot"/>
            <a:tailEnd type="triangle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6FE8A13-4524-49CE-9397-679BDE5A7A4B}"/>
              </a:ext>
            </a:extLst>
          </p:cNvPr>
          <p:cNvCxnSpPr>
            <a:cxnSpLocks/>
          </p:cNvCxnSpPr>
          <p:nvPr/>
        </p:nvCxnSpPr>
        <p:spPr>
          <a:xfrm flipH="1">
            <a:off x="10155290" y="2760298"/>
            <a:ext cx="1283796" cy="0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DB142A4-CCEA-4230-A280-D5D274460755}"/>
              </a:ext>
            </a:extLst>
          </p:cNvPr>
          <p:cNvCxnSpPr>
            <a:cxnSpLocks/>
          </p:cNvCxnSpPr>
          <p:nvPr/>
        </p:nvCxnSpPr>
        <p:spPr>
          <a:xfrm flipH="1">
            <a:off x="8612235" y="3465777"/>
            <a:ext cx="1552581" cy="0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7416FF8-A3E1-4B59-88DC-5E75567AB0E2}"/>
              </a:ext>
            </a:extLst>
          </p:cNvPr>
          <p:cNvCxnSpPr>
            <a:cxnSpLocks/>
          </p:cNvCxnSpPr>
          <p:nvPr/>
        </p:nvCxnSpPr>
        <p:spPr>
          <a:xfrm>
            <a:off x="10157874" y="2757488"/>
            <a:ext cx="0" cy="703747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A82DF83-9450-4BE3-A301-57E8A2351B89}"/>
              </a:ext>
            </a:extLst>
          </p:cNvPr>
          <p:cNvCxnSpPr>
            <a:cxnSpLocks/>
          </p:cNvCxnSpPr>
          <p:nvPr/>
        </p:nvCxnSpPr>
        <p:spPr>
          <a:xfrm flipH="1">
            <a:off x="7605713" y="3464894"/>
            <a:ext cx="1006522" cy="1005991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9D3449-64CC-42F6-959C-A96F7C3062B8}"/>
              </a:ext>
            </a:extLst>
          </p:cNvPr>
          <p:cNvCxnSpPr>
            <a:cxnSpLocks/>
          </p:cNvCxnSpPr>
          <p:nvPr/>
        </p:nvCxnSpPr>
        <p:spPr>
          <a:xfrm flipH="1">
            <a:off x="5666333" y="4470885"/>
            <a:ext cx="1944143" cy="0"/>
          </a:xfrm>
          <a:prstGeom prst="line">
            <a:avLst/>
          </a:prstGeom>
          <a:ln w="12700">
            <a:solidFill>
              <a:srgbClr val="7030A0"/>
            </a:solidFill>
            <a:prstDash val="sysDot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C386940-FC36-4BD6-A74E-356197F9A2EF}"/>
              </a:ext>
            </a:extLst>
          </p:cNvPr>
          <p:cNvSpPr/>
          <p:nvPr/>
        </p:nvSpPr>
        <p:spPr>
          <a:xfrm>
            <a:off x="5289233" y="4968118"/>
            <a:ext cx="86433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MALVER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D0716D9-96D2-40CE-B324-2F094607BA31}"/>
              </a:ext>
            </a:extLst>
          </p:cNvPr>
          <p:cNvSpPr/>
          <p:nvPr/>
        </p:nvSpPr>
        <p:spPr>
          <a:xfrm>
            <a:off x="2299876" y="4742930"/>
            <a:ext cx="77938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BERWYN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68D37C1-1934-445C-AAFA-B64412E15BC7}"/>
              </a:ext>
            </a:extLst>
          </p:cNvPr>
          <p:cNvSpPr/>
          <p:nvPr/>
        </p:nvSpPr>
        <p:spPr>
          <a:xfrm>
            <a:off x="5623683" y="4428235"/>
            <a:ext cx="85299" cy="852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679B0E9-F713-494E-A0B9-167688D5E3C0}"/>
              </a:ext>
            </a:extLst>
          </p:cNvPr>
          <p:cNvSpPr/>
          <p:nvPr/>
        </p:nvSpPr>
        <p:spPr>
          <a:xfrm>
            <a:off x="3482681" y="4915801"/>
            <a:ext cx="5950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PAOLI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C72D74D-5548-4AE4-9D61-FBD242CC0AA9}"/>
              </a:ext>
            </a:extLst>
          </p:cNvPr>
          <p:cNvSpPr/>
          <p:nvPr/>
        </p:nvSpPr>
        <p:spPr>
          <a:xfrm>
            <a:off x="5164999" y="3379290"/>
            <a:ext cx="111280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ENVISIONING</a:t>
            </a:r>
          </a:p>
          <a:p>
            <a:pPr algn="ctr"/>
            <a:r>
              <a:rPr lang="en-US" sz="1100" b="1" dirty="0">
                <a:solidFill>
                  <a:srgbClr val="0000CC"/>
                </a:solidFill>
              </a:rPr>
              <a:t>CENT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90FF518-9449-4247-A6AF-848AA45C09DF}"/>
              </a:ext>
            </a:extLst>
          </p:cNvPr>
          <p:cNvSpPr/>
          <p:nvPr/>
        </p:nvSpPr>
        <p:spPr>
          <a:xfrm>
            <a:off x="2433906" y="3467104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KITCHEN 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B81D07E-1F3E-4881-9EE9-462EF504B369}"/>
              </a:ext>
            </a:extLst>
          </p:cNvPr>
          <p:cNvSpPr/>
          <p:nvPr/>
        </p:nvSpPr>
        <p:spPr>
          <a:xfrm>
            <a:off x="10987310" y="3522155"/>
            <a:ext cx="10326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RESTROOM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16815D3-CE0C-4BDA-A432-FC2C5220AAFA}"/>
              </a:ext>
            </a:extLst>
          </p:cNvPr>
          <p:cNvSpPr/>
          <p:nvPr/>
        </p:nvSpPr>
        <p:spPr>
          <a:xfrm>
            <a:off x="10987093" y="3223838"/>
            <a:ext cx="976312" cy="836496"/>
          </a:xfrm>
          <a:prstGeom prst="ellipse">
            <a:avLst/>
          </a:prstGeom>
          <a:noFill/>
          <a:ln w="12700">
            <a:solidFill>
              <a:srgbClr val="7030A0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9E5BDE9-47B7-4DA0-B223-BCCCC0AE7EEE}"/>
              </a:ext>
            </a:extLst>
          </p:cNvPr>
          <p:cNvSpPr/>
          <p:nvPr/>
        </p:nvSpPr>
        <p:spPr>
          <a:xfrm>
            <a:off x="7704614" y="4823315"/>
            <a:ext cx="9076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KITCHEN 2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49A97AF-7669-41B8-AAE0-39577DA1AE66}"/>
              </a:ext>
            </a:extLst>
          </p:cNvPr>
          <p:cNvSpPr/>
          <p:nvPr/>
        </p:nvSpPr>
        <p:spPr>
          <a:xfrm>
            <a:off x="8998506" y="3224670"/>
            <a:ext cx="9220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CC"/>
                </a:solidFill>
              </a:rPr>
              <a:t>ENTRANCE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9F01C9B-B92B-4394-929B-B174278D1358}"/>
              </a:ext>
            </a:extLst>
          </p:cNvPr>
          <p:cNvSpPr/>
          <p:nvPr/>
        </p:nvSpPr>
        <p:spPr>
          <a:xfrm>
            <a:off x="2198295" y="4563844"/>
            <a:ext cx="982541" cy="518941"/>
          </a:xfrm>
          <a:prstGeom prst="ellipse">
            <a:avLst/>
          </a:prstGeom>
          <a:noFill/>
          <a:ln w="38100">
            <a:solidFill>
              <a:srgbClr val="FFFF00"/>
            </a:solidFill>
          </a:ln>
          <a:effectLst>
            <a:glow rad="127000">
              <a:srgbClr val="FFFF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12C36B1-733D-42EA-A915-6D10F56CAD5A}"/>
              </a:ext>
            </a:extLst>
          </p:cNvPr>
          <p:cNvSpPr/>
          <p:nvPr/>
        </p:nvSpPr>
        <p:spPr>
          <a:xfrm>
            <a:off x="7667153" y="4694649"/>
            <a:ext cx="982541" cy="518941"/>
          </a:xfrm>
          <a:prstGeom prst="ellipse">
            <a:avLst/>
          </a:prstGeom>
          <a:noFill/>
          <a:ln w="38100">
            <a:solidFill>
              <a:srgbClr val="FFFF00"/>
            </a:solidFill>
          </a:ln>
          <a:effectLst>
            <a:glow rad="127000">
              <a:srgbClr val="FFFF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BAB03C9A-A54A-4B27-91AA-BE406A1D264B}"/>
              </a:ext>
            </a:extLst>
          </p:cNvPr>
          <p:cNvSpPr/>
          <p:nvPr/>
        </p:nvSpPr>
        <p:spPr>
          <a:xfrm>
            <a:off x="3229537" y="1316596"/>
            <a:ext cx="534865" cy="314937"/>
          </a:xfrm>
          <a:prstGeom prst="ellipse">
            <a:avLst/>
          </a:prstGeom>
          <a:noFill/>
          <a:ln w="12700">
            <a:solidFill>
              <a:srgbClr val="C00000"/>
            </a:solidFill>
          </a:ln>
          <a:effectLst>
            <a:glow rad="63500">
              <a:srgbClr val="FF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A7B1805-9D68-4C92-B8A2-9A153A101223}"/>
              </a:ext>
            </a:extLst>
          </p:cNvPr>
          <p:cNvSpPr/>
          <p:nvPr/>
        </p:nvSpPr>
        <p:spPr>
          <a:xfrm>
            <a:off x="3268891" y="1048033"/>
            <a:ext cx="4812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EXI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4602DD7-378E-47FB-BA93-5B90CBA279D9}"/>
              </a:ext>
            </a:extLst>
          </p:cNvPr>
          <p:cNvSpPr/>
          <p:nvPr/>
        </p:nvSpPr>
        <p:spPr>
          <a:xfrm rot="5400000">
            <a:off x="10291423" y="4349058"/>
            <a:ext cx="96472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solidFill>
                  <a:srgbClr val="0000CC"/>
                </a:solidFill>
              </a:rPr>
              <a:t>ELEVATORS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BFA844E-226D-4C4A-9204-0342D4ECFAA6}"/>
              </a:ext>
            </a:extLst>
          </p:cNvPr>
          <p:cNvSpPr/>
          <p:nvPr/>
        </p:nvSpPr>
        <p:spPr>
          <a:xfrm>
            <a:off x="9688504" y="1320855"/>
            <a:ext cx="660430" cy="388872"/>
          </a:xfrm>
          <a:prstGeom prst="ellipse">
            <a:avLst/>
          </a:prstGeom>
          <a:noFill/>
          <a:ln w="12700">
            <a:solidFill>
              <a:srgbClr val="C00000"/>
            </a:solidFill>
          </a:ln>
          <a:effectLst>
            <a:glow rad="63500">
              <a:srgbClr val="FF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6FEF503-3599-4E42-8DD0-D51CB76696EF}"/>
              </a:ext>
            </a:extLst>
          </p:cNvPr>
          <p:cNvSpPr/>
          <p:nvPr/>
        </p:nvSpPr>
        <p:spPr>
          <a:xfrm>
            <a:off x="9765962" y="1061818"/>
            <a:ext cx="5941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EXIT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13F50F13-AFC6-4833-8885-BB61C053A0BC}"/>
              </a:ext>
            </a:extLst>
          </p:cNvPr>
          <p:cNvSpPr/>
          <p:nvPr/>
        </p:nvSpPr>
        <p:spPr>
          <a:xfrm>
            <a:off x="11649198" y="2440934"/>
            <a:ext cx="542925" cy="319683"/>
          </a:xfrm>
          <a:prstGeom prst="ellipse">
            <a:avLst/>
          </a:prstGeom>
          <a:noFill/>
          <a:ln w="12700">
            <a:solidFill>
              <a:srgbClr val="C00000"/>
            </a:solidFill>
          </a:ln>
          <a:effectLst>
            <a:glow rad="63500">
              <a:srgbClr val="FF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717423C-FEB7-450A-89DA-C1C20DFF7B7C}"/>
              </a:ext>
            </a:extLst>
          </p:cNvPr>
          <p:cNvSpPr/>
          <p:nvPr/>
        </p:nvSpPr>
        <p:spPr>
          <a:xfrm>
            <a:off x="11690123" y="2473491"/>
            <a:ext cx="5941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0000CC"/>
                </a:solidFill>
              </a:rPr>
              <a:t>EXIT</a:t>
            </a:r>
          </a:p>
        </p:txBody>
      </p:sp>
      <p:sp>
        <p:nvSpPr>
          <p:cNvPr id="52" name="Title 125">
            <a:extLst>
              <a:ext uri="{FF2B5EF4-FFF2-40B4-BE49-F238E27FC236}">
                <a16:creationId xmlns:a16="http://schemas.microsoft.com/office/drawing/2014/main" id="{9F3E26F6-8F16-4FED-9E4E-224064B12B8C}"/>
              </a:ext>
            </a:extLst>
          </p:cNvPr>
          <p:cNvSpPr txBox="1">
            <a:spLocks/>
          </p:cNvSpPr>
          <p:nvPr/>
        </p:nvSpPr>
        <p:spPr>
          <a:xfrm>
            <a:off x="371276" y="200212"/>
            <a:ext cx="11813056" cy="6093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27432" rIns="0" bIns="27432">
            <a:noAutofit/>
          </a:bodyPr>
          <a:lstStyle>
            <a:lvl1pPr marL="0" algn="l" defTabSz="1088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kern="1200" spc="-58" baseline="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IN" dirty="0">
                <a:solidFill>
                  <a:srgbClr val="0078D7"/>
                </a:solidFill>
              </a:rPr>
              <a:t>Philadelphia Microsoft Technology </a:t>
            </a:r>
            <a:r>
              <a:rPr lang="en-IN" dirty="0" err="1">
                <a:solidFill>
                  <a:srgbClr val="0078D7"/>
                </a:solidFill>
              </a:rPr>
              <a:t>Center</a:t>
            </a:r>
            <a:endParaRPr lang="en-US" dirty="0">
              <a:solidFill>
                <a:srgbClr val="0078D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6283596-54C6-4DE1-B1BE-F9D0E7E3C5EF}"/>
              </a:ext>
            </a:extLst>
          </p:cNvPr>
          <p:cNvSpPr/>
          <p:nvPr/>
        </p:nvSpPr>
        <p:spPr>
          <a:xfrm>
            <a:off x="2470498" y="3343465"/>
            <a:ext cx="982541" cy="518941"/>
          </a:xfrm>
          <a:prstGeom prst="ellipse">
            <a:avLst/>
          </a:prstGeom>
          <a:noFill/>
          <a:ln w="38100">
            <a:solidFill>
              <a:srgbClr val="FFFF00"/>
            </a:solidFill>
          </a:ln>
          <a:effectLst>
            <a:glow rad="127000">
              <a:srgbClr val="FFFF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3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6500"/>
                            </p:stCondLst>
                            <p:childTnLst>
                              <p:par>
                                <p:cTn id="8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5" grpId="0" animBg="1"/>
      <p:bldP spid="40" grpId="0" animBg="1"/>
      <p:bldP spid="41" grpId="0" animBg="1"/>
      <p:bldP spid="43" grpId="0" animBg="1"/>
      <p:bldP spid="47" grpId="0" animBg="1"/>
      <p:bldP spid="49" grpId="0" animBg="1"/>
      <p:bldP spid="3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I learn?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3237809"/>
          </a:xfrm>
        </p:spPr>
        <p:txBody>
          <a:bodyPr/>
          <a:lstStyle/>
          <a:p>
            <a:r>
              <a:rPr lang="en-US" dirty="0"/>
              <a:t>An intuition into how DL really works</a:t>
            </a:r>
          </a:p>
          <a:p>
            <a:r>
              <a:rPr lang="en-US" dirty="0"/>
              <a:t>Train a deep learning model for image classification</a:t>
            </a:r>
          </a:p>
          <a:p>
            <a:r>
              <a:rPr lang="en-US" dirty="0"/>
              <a:t>Use Azure ML to deploy a machine learning model as a web service</a:t>
            </a:r>
          </a:p>
          <a:p>
            <a:r>
              <a:rPr lang="en-US" dirty="0"/>
              <a:t>Understand neural networks (CNN)</a:t>
            </a:r>
          </a:p>
          <a:p>
            <a:r>
              <a:rPr lang="en-US" dirty="0"/>
              <a:t>6ish hours of hands-on</a:t>
            </a:r>
          </a:p>
          <a:p>
            <a:pPr lvl="1"/>
            <a:r>
              <a:rPr lang="en-US" dirty="0"/>
              <a:t>but not a “hands-on” lab, it is a CHALLENGE</a:t>
            </a:r>
          </a:p>
          <a:p>
            <a:pPr lvl="1"/>
            <a:r>
              <a:rPr lang="en-US" dirty="0"/>
              <a:t>you won’t finish</a:t>
            </a:r>
          </a:p>
        </p:txBody>
      </p:sp>
    </p:spTree>
    <p:extLst>
      <p:ext uri="{BB962C8B-B14F-4D97-AF65-F5344CB8AC3E}">
        <p14:creationId xmlns:p14="http://schemas.microsoft.com/office/powerpoint/2010/main" val="3097205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849BA90-454E-9B47-8A1A-A258B0B23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7150" y="1273809"/>
            <a:ext cx="10417788" cy="52714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24933B2-7C65-DC42-982F-3B3714055DEE}"/>
              </a:ext>
            </a:extLst>
          </p:cNvPr>
          <p:cNvSpPr/>
          <p:nvPr/>
        </p:nvSpPr>
        <p:spPr bwMode="auto">
          <a:xfrm>
            <a:off x="4987636" y="2859578"/>
            <a:ext cx="6467301" cy="3685632"/>
          </a:xfrm>
          <a:prstGeom prst="rect">
            <a:avLst/>
          </a:prstGeom>
          <a:solidFill>
            <a:srgbClr val="EAEB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9807DC-AD59-4A4D-A9D7-0136D1271748}"/>
              </a:ext>
            </a:extLst>
          </p:cNvPr>
          <p:cNvSpPr/>
          <p:nvPr/>
        </p:nvSpPr>
        <p:spPr bwMode="auto">
          <a:xfrm>
            <a:off x="7614458" y="2859578"/>
            <a:ext cx="3840479" cy="3685632"/>
          </a:xfrm>
          <a:prstGeom prst="rect">
            <a:avLst/>
          </a:prstGeom>
          <a:solidFill>
            <a:srgbClr val="EAEB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72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7" grpId="0" animBg="1"/>
      <p:bldP spid="7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98A978-4439-4910-ABA4-1ABD82F5D6F8}"/>
              </a:ext>
            </a:extLst>
          </p:cNvPr>
          <p:cNvSpPr/>
          <p:nvPr/>
        </p:nvSpPr>
        <p:spPr>
          <a:xfrm>
            <a:off x="3943006" y="2644170"/>
            <a:ext cx="430598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y = 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D54222DC-5863-4EE4-939D-963308E2C45F}"/>
              </a:ext>
            </a:extLst>
          </p:cNvPr>
          <p:cNvSpPr/>
          <p:nvPr/>
        </p:nvSpPr>
        <p:spPr bwMode="auto">
          <a:xfrm>
            <a:off x="1653048" y="115510"/>
            <a:ext cx="3264123" cy="2736692"/>
          </a:xfrm>
          <a:prstGeom prst="wedgeRectCallout">
            <a:avLst>
              <a:gd name="adj1" fmla="val 32808"/>
              <a:gd name="adj2" fmla="val 6381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Label</a:t>
            </a:r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2F9D783A-AEBF-4F70-972C-8312F49953BD}"/>
              </a:ext>
            </a:extLst>
          </p:cNvPr>
          <p:cNvSpPr/>
          <p:nvPr/>
        </p:nvSpPr>
        <p:spPr bwMode="auto">
          <a:xfrm>
            <a:off x="6222716" y="115510"/>
            <a:ext cx="3763016" cy="2736692"/>
          </a:xfrm>
          <a:prstGeom prst="wedgeRectCallout">
            <a:avLst>
              <a:gd name="adj1" fmla="val -21664"/>
              <a:gd name="adj2" fmla="val 56130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Features</a:t>
            </a:r>
          </a:p>
        </p:txBody>
      </p:sp>
    </p:spTree>
    <p:extLst>
      <p:ext uri="{BB962C8B-B14F-4D97-AF65-F5344CB8AC3E}">
        <p14:creationId xmlns:p14="http://schemas.microsoft.com/office/powerpoint/2010/main" val="27704375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98A978-4439-4910-ABA4-1ABD82F5D6F8}"/>
              </a:ext>
            </a:extLst>
          </p:cNvPr>
          <p:cNvSpPr/>
          <p:nvPr/>
        </p:nvSpPr>
        <p:spPr>
          <a:xfrm>
            <a:off x="3943006" y="2644170"/>
            <a:ext cx="430598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y = 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B618B4-EE5C-4939-9D6F-A5A66ED70EC0}"/>
              </a:ext>
            </a:extLst>
          </p:cNvPr>
          <p:cNvCxnSpPr/>
          <p:nvPr/>
        </p:nvCxnSpPr>
        <p:spPr>
          <a:xfrm>
            <a:off x="7005145" y="3184634"/>
            <a:ext cx="557048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906554B-D753-417B-ABEA-C7B3C93A9713}"/>
              </a:ext>
            </a:extLst>
          </p:cNvPr>
          <p:cNvGrpSpPr/>
          <p:nvPr/>
        </p:nvGrpSpPr>
        <p:grpSpPr>
          <a:xfrm>
            <a:off x="2377068" y="4546262"/>
            <a:ext cx="7591111" cy="2190759"/>
            <a:chOff x="1674000" y="3413616"/>
            <a:chExt cx="9144001" cy="2638916"/>
          </a:xfrm>
        </p:grpSpPr>
        <p:pic>
          <p:nvPicPr>
            <p:cNvPr id="11" name="Picture 10" descr="A white flower on a plant&#10;&#10;Description automatically generated">
              <a:extLst>
                <a:ext uri="{FF2B5EF4-FFF2-40B4-BE49-F238E27FC236}">
                  <a16:creationId xmlns:a16="http://schemas.microsoft.com/office/drawing/2014/main" id="{049361FF-04D8-4DB0-A48C-51780C9B2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4"/>
                </a:ext>
              </a:extLst>
            </a:blip>
            <a:stretch>
              <a:fillRect/>
            </a:stretch>
          </p:blipFill>
          <p:spPr>
            <a:xfrm>
              <a:off x="8188413" y="3422944"/>
              <a:ext cx="2629588" cy="2629588"/>
            </a:xfrm>
            <a:prstGeom prst="rect">
              <a:avLst/>
            </a:prstGeom>
          </p:spPr>
        </p:pic>
        <p:pic>
          <p:nvPicPr>
            <p:cNvPr id="14" name="Picture 13" descr="A purple flower on a plant&#10;&#10;Description automatically generated">
              <a:extLst>
                <a:ext uri="{FF2B5EF4-FFF2-40B4-BE49-F238E27FC236}">
                  <a16:creationId xmlns:a16="http://schemas.microsoft.com/office/drawing/2014/main" id="{68C890AA-C18D-41C4-8BF4-FAD92B4083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6"/>
                </a:ext>
              </a:extLst>
            </a:blip>
            <a:srcRect r="5849"/>
            <a:stretch/>
          </p:blipFill>
          <p:spPr>
            <a:xfrm>
              <a:off x="4920240" y="3413616"/>
              <a:ext cx="3301019" cy="2629587"/>
            </a:xfrm>
            <a:prstGeom prst="rect">
              <a:avLst/>
            </a:prstGeom>
          </p:spPr>
        </p:pic>
        <p:pic>
          <p:nvPicPr>
            <p:cNvPr id="17" name="Picture 16" descr="A close up of a purple flower&#10;&#10;Description automatically generated">
              <a:extLst>
                <a:ext uri="{FF2B5EF4-FFF2-40B4-BE49-F238E27FC236}">
                  <a16:creationId xmlns:a16="http://schemas.microsoft.com/office/drawing/2014/main" id="{B7A2B1DD-3EB5-4F59-84E5-F10DCA0640A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8"/>
                </a:ext>
              </a:extLst>
            </a:blip>
            <a:stretch>
              <a:fillRect/>
            </a:stretch>
          </p:blipFill>
          <p:spPr>
            <a:xfrm>
              <a:off x="1674000" y="3413616"/>
              <a:ext cx="3301065" cy="2619893"/>
            </a:xfrm>
            <a:prstGeom prst="rect">
              <a:avLst/>
            </a:prstGeom>
          </p:spPr>
        </p:pic>
      </p:grp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02A6E3CA-9F55-4DCC-8AAF-849E521D2727}"/>
              </a:ext>
            </a:extLst>
          </p:cNvPr>
          <p:cNvSpPr/>
          <p:nvPr/>
        </p:nvSpPr>
        <p:spPr bwMode="auto">
          <a:xfrm>
            <a:off x="1653048" y="115510"/>
            <a:ext cx="3264123" cy="2736692"/>
          </a:xfrm>
          <a:prstGeom prst="wedgeRectCallout">
            <a:avLst>
              <a:gd name="adj1" fmla="val 32808"/>
              <a:gd name="adj2" fmla="val 6381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pecies</a:t>
            </a:r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39C13541-C5F5-427D-91AB-559787609498}"/>
              </a:ext>
            </a:extLst>
          </p:cNvPr>
          <p:cNvSpPr/>
          <p:nvPr/>
        </p:nvSpPr>
        <p:spPr bwMode="auto">
          <a:xfrm>
            <a:off x="6222716" y="115510"/>
            <a:ext cx="3763016" cy="2736692"/>
          </a:xfrm>
          <a:prstGeom prst="wedgeRectCallout">
            <a:avLst>
              <a:gd name="adj1" fmla="val -21664"/>
              <a:gd name="adj2" fmla="val 56130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srgbClr val="0078D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pal / Petal Measurem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28DA4E-16EE-461E-9635-697F592E1EA1}"/>
              </a:ext>
            </a:extLst>
          </p:cNvPr>
          <p:cNvSpPr txBox="1"/>
          <p:nvPr/>
        </p:nvSpPr>
        <p:spPr>
          <a:xfrm>
            <a:off x="1770431" y="1008823"/>
            <a:ext cx="3029355" cy="16619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 (“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tos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”)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1 (“Versicolor”)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 (“Virginica”)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BEBD43-9AC8-4F29-9245-91EF3AA44C4F}"/>
              </a:ext>
            </a:extLst>
          </p:cNvPr>
          <p:cNvSpPr/>
          <p:nvPr/>
        </p:nvSpPr>
        <p:spPr>
          <a:xfrm>
            <a:off x="6172624" y="1874756"/>
            <a:ext cx="391164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6.6, 3.2, 5.8, 2.4]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A256326-E453-4B2F-B2E2-C585F975CD2E}"/>
              </a:ext>
            </a:extLst>
          </p:cNvPr>
          <p:cNvSpPr/>
          <p:nvPr/>
        </p:nvSpPr>
        <p:spPr bwMode="auto">
          <a:xfrm>
            <a:off x="1647131" y="1483856"/>
            <a:ext cx="3270040" cy="744843"/>
          </a:xfrm>
          <a:prstGeom prst="ellipse">
            <a:avLst/>
          </a:prstGeom>
          <a:noFill/>
          <a:ln w="57150"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ED8183D-76BE-4395-9B82-776F13211262}"/>
              </a:ext>
            </a:extLst>
          </p:cNvPr>
          <p:cNvSpPr/>
          <p:nvPr/>
        </p:nvSpPr>
        <p:spPr>
          <a:xfrm>
            <a:off x="8326419" y="2767280"/>
            <a:ext cx="3515706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= </a:t>
            </a: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[0, 1, 0]</a:t>
            </a:r>
            <a:endParaRPr kumimoji="0" lang="en-US" sz="9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Cambria Math" panose="02040503050406030204" pitchFamily="18" charset="0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0CE727-5924-4740-8352-54ABA40859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4142" y="3327235"/>
            <a:ext cx="2095500" cy="222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9635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animBg="1"/>
      <p:bldP spid="2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09B9E12F-8D9A-4380-B1C7-F1C3D6D164D7}"/>
              </a:ext>
            </a:extLst>
          </p:cNvPr>
          <p:cNvSpPr/>
          <p:nvPr/>
        </p:nvSpPr>
        <p:spPr bwMode="auto">
          <a:xfrm>
            <a:off x="4295207" y="1842424"/>
            <a:ext cx="3601585" cy="3601585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6350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2D35F50-A7CA-45B4-B29D-880AA70140D4}"/>
              </a:ext>
            </a:extLst>
          </p:cNvPr>
          <p:cNvSpPr/>
          <p:nvPr/>
        </p:nvSpPr>
        <p:spPr bwMode="auto">
          <a:xfrm>
            <a:off x="2676588" y="2656668"/>
            <a:ext cx="2670532" cy="822475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7" name="Connector: Curved 6">
            <a:extLst>
              <a:ext uri="{FF2B5EF4-FFF2-40B4-BE49-F238E27FC236}">
                <a16:creationId xmlns:a16="http://schemas.microsoft.com/office/drawing/2014/main" id="{7D57CE27-DF9A-4054-8C7F-D01671B0A89D}"/>
              </a:ext>
            </a:extLst>
          </p:cNvPr>
          <p:cNvCxnSpPr>
            <a:cxnSpLocks/>
          </p:cNvCxnSpPr>
          <p:nvPr/>
        </p:nvCxnSpPr>
        <p:spPr>
          <a:xfrm flipV="1">
            <a:off x="7066919" y="2924869"/>
            <a:ext cx="1628964" cy="617674"/>
          </a:xfrm>
          <a:prstGeom prst="curvedConnector3">
            <a:avLst/>
          </a:prstGeom>
          <a:ln w="76200">
            <a:solidFill>
              <a:schemeClr val="accent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DBF7BE2-37C2-425F-A751-78DE14D4B2EE}"/>
              </a:ext>
            </a:extLst>
          </p:cNvPr>
          <p:cNvSpPr/>
          <p:nvPr/>
        </p:nvSpPr>
        <p:spPr bwMode="auto">
          <a:xfrm rot="9314120">
            <a:off x="2868067" y="4208956"/>
            <a:ext cx="2670532" cy="822475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Explosion: 8 Points 10">
            <a:extLst>
              <a:ext uri="{FF2B5EF4-FFF2-40B4-BE49-F238E27FC236}">
                <a16:creationId xmlns:a16="http://schemas.microsoft.com/office/drawing/2014/main" id="{F3123E55-B8CD-45A3-B734-427A0CE0B17A}"/>
              </a:ext>
            </a:extLst>
          </p:cNvPr>
          <p:cNvSpPr/>
          <p:nvPr/>
        </p:nvSpPr>
        <p:spPr bwMode="auto">
          <a:xfrm>
            <a:off x="8275926" y="2267419"/>
            <a:ext cx="839914" cy="1314899"/>
          </a:xfrm>
          <a:prstGeom prst="irregularSeal1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FFFF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C07073C-8612-4141-B962-74DA947301A8}"/>
              </a:ext>
            </a:extLst>
          </p:cNvPr>
          <p:cNvSpPr/>
          <p:nvPr/>
        </p:nvSpPr>
        <p:spPr bwMode="auto">
          <a:xfrm rot="9314120">
            <a:off x="2955089" y="4284490"/>
            <a:ext cx="2670532" cy="822475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3048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E412B6-5B2E-4E21-B355-E023E14A8A75}"/>
              </a:ext>
            </a:extLst>
          </p:cNvPr>
          <p:cNvSpPr/>
          <p:nvPr/>
        </p:nvSpPr>
        <p:spPr>
          <a:xfrm>
            <a:off x="5582270" y="3750842"/>
            <a:ext cx="3498073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,w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F45990-B8A7-4164-BEB5-7F822447F009}"/>
              </a:ext>
            </a:extLst>
          </p:cNvPr>
          <p:cNvSpPr/>
          <p:nvPr/>
        </p:nvSpPr>
        <p:spPr>
          <a:xfrm>
            <a:off x="1701274" y="1871838"/>
            <a:ext cx="1189749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1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6CA113-5AA0-41DC-85AC-04474E6A0918}"/>
              </a:ext>
            </a:extLst>
          </p:cNvPr>
          <p:cNvSpPr/>
          <p:nvPr/>
        </p:nvSpPr>
        <p:spPr>
          <a:xfrm>
            <a:off x="1628850" y="3874349"/>
            <a:ext cx="1189749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2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5EAC974-25DB-41B3-892E-0B6C621F3413}"/>
              </a:ext>
            </a:extLst>
          </p:cNvPr>
          <p:cNvSpPr/>
          <p:nvPr/>
        </p:nvSpPr>
        <p:spPr>
          <a:xfrm>
            <a:off x="3258950" y="4403568"/>
            <a:ext cx="14334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w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2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551CE31-9287-46DC-8D37-A94E1A765595}"/>
              </a:ext>
            </a:extLst>
          </p:cNvPr>
          <p:cNvSpPr/>
          <p:nvPr/>
        </p:nvSpPr>
        <p:spPr>
          <a:xfrm>
            <a:off x="3199370" y="1313205"/>
            <a:ext cx="14334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w</a:t>
            </a:r>
            <a:r>
              <a:rPr kumimoji="0" lang="en-US" sz="9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1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778DF7-F066-4347-BFBE-13910BE1A204}"/>
              </a:ext>
            </a:extLst>
          </p:cNvPr>
          <p:cNvSpPr/>
          <p:nvPr/>
        </p:nvSpPr>
        <p:spPr>
          <a:xfrm>
            <a:off x="9080343" y="2033267"/>
            <a:ext cx="646331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y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E46A44C-2574-4C50-8BCC-B4412657776B}"/>
              </a:ext>
            </a:extLst>
          </p:cNvPr>
          <p:cNvSpPr/>
          <p:nvPr/>
        </p:nvSpPr>
        <p:spPr bwMode="auto">
          <a:xfrm rot="14117754">
            <a:off x="4210872" y="1878162"/>
            <a:ext cx="1913231" cy="513984"/>
          </a:xfrm>
          <a:custGeom>
            <a:avLst/>
            <a:gdLst>
              <a:gd name="connsiteX0" fmla="*/ 0 w 2670532"/>
              <a:gd name="connsiteY0" fmla="*/ 122865 h 822475"/>
              <a:gd name="connsiteX1" fmla="*/ 987067 w 2670532"/>
              <a:gd name="connsiteY1" fmla="*/ 7808 h 822475"/>
              <a:gd name="connsiteX2" fmla="*/ 1459406 w 2670532"/>
              <a:gd name="connsiteY2" fmla="*/ 316645 h 822475"/>
              <a:gd name="connsiteX3" fmla="*/ 2428307 w 2670532"/>
              <a:gd name="connsiteY3" fmla="*/ 795040 h 822475"/>
              <a:gd name="connsiteX4" fmla="*/ 2670532 w 2670532"/>
              <a:gd name="connsiteY4" fmla="*/ 722372 h 82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70532" h="822475">
                <a:moveTo>
                  <a:pt x="0" y="122865"/>
                </a:moveTo>
                <a:cubicBezTo>
                  <a:pt x="371916" y="49188"/>
                  <a:pt x="743833" y="-24489"/>
                  <a:pt x="987067" y="7808"/>
                </a:cubicBezTo>
                <a:cubicBezTo>
                  <a:pt x="1230301" y="40105"/>
                  <a:pt x="1219199" y="185440"/>
                  <a:pt x="1459406" y="316645"/>
                </a:cubicBezTo>
                <a:cubicBezTo>
                  <a:pt x="1699613" y="447850"/>
                  <a:pt x="2226453" y="727419"/>
                  <a:pt x="2428307" y="795040"/>
                </a:cubicBezTo>
                <a:cubicBezTo>
                  <a:pt x="2630161" y="862661"/>
                  <a:pt x="2650346" y="792516"/>
                  <a:pt x="2670532" y="722372"/>
                </a:cubicBezTo>
              </a:path>
            </a:pathLst>
          </a:custGeom>
          <a:noFill/>
          <a:ln w="76200">
            <a:solidFill>
              <a:schemeClr val="accent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178E60-F606-4170-8F5A-4C8BA8D9EB9B}"/>
              </a:ext>
            </a:extLst>
          </p:cNvPr>
          <p:cNvSpPr/>
          <p:nvPr/>
        </p:nvSpPr>
        <p:spPr>
          <a:xfrm>
            <a:off x="4971406" y="896210"/>
            <a:ext cx="69762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b</a:t>
            </a:r>
            <a:endParaRPr kumimoji="0" lang="en-US" sz="1765" b="0" i="0" u="none" strike="noStrike" kern="1200" cap="none" spc="0" normalizeH="0" baseline="-2500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B8E2823-E05F-42F2-8E1E-8ECE86C53B30}"/>
              </a:ext>
            </a:extLst>
          </p:cNvPr>
          <p:cNvSpPr/>
          <p:nvPr/>
        </p:nvSpPr>
        <p:spPr>
          <a:xfrm>
            <a:off x="5582270" y="3774787"/>
            <a:ext cx="424186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f</a:t>
            </a:r>
            <a:r>
              <a:rPr kumimoji="0" lang="en-US" sz="9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+mn-cs"/>
              </a:rPr>
              <a:t> 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(</a:t>
            </a:r>
            <a:r>
              <a:rPr kumimoji="0" lang="en-US" sz="9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ll MT" panose="02020503060305020303" pitchFamily="18" charset="0"/>
                <a:ea typeface="Cambria Math" panose="02040503050406030204" pitchFamily="18" charset="0"/>
                <a:cs typeface="+mn-cs"/>
              </a:rPr>
              <a:t>x,w,b</a:t>
            </a: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Cambria Math" panose="02040503050406030204" pitchFamily="18" charset="0"/>
                <a:cs typeface="+mn-cs"/>
              </a:rPr>
              <a:t> )</a:t>
            </a:r>
            <a:endParaRPr kumimoji="0" lang="en-US" sz="72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078D614-9D4E-408A-A2BC-679756CDCA9F}"/>
              </a:ext>
            </a:extLst>
          </p:cNvPr>
          <p:cNvGrpSpPr/>
          <p:nvPr/>
        </p:nvGrpSpPr>
        <p:grpSpPr>
          <a:xfrm>
            <a:off x="6081942" y="3855802"/>
            <a:ext cx="3444574" cy="1569660"/>
            <a:chOff x="6168306" y="5188963"/>
            <a:chExt cx="3444574" cy="156966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33D2C83-A702-4336-9BAA-7BC10379A364}"/>
                </a:ext>
              </a:extLst>
            </p:cNvPr>
            <p:cNvSpPr/>
            <p:nvPr/>
          </p:nvSpPr>
          <p:spPr>
            <a:xfrm>
              <a:off x="6168306" y="5188963"/>
              <a:ext cx="1056700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∑</a:t>
              </a:r>
              <a:endPara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8C506C1-A1E3-4217-AE09-B851A367D925}"/>
                </a:ext>
              </a:extLst>
            </p:cNvPr>
            <p:cNvSpPr/>
            <p:nvPr/>
          </p:nvSpPr>
          <p:spPr>
            <a:xfrm>
              <a:off x="7052564" y="5334920"/>
              <a:ext cx="2560316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(</a:t>
              </a:r>
              <a:r>
                <a:rPr kumimoji="0" lang="en-US" sz="66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x</a:t>
              </a:r>
              <a:r>
                <a:rPr kumimoji="0" lang="en-US" sz="3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Cambria Math" panose="02040503050406030204" pitchFamily="18" charset="0"/>
                  <a:cs typeface="+mn-cs"/>
                </a:rPr>
                <a:t>x</a:t>
              </a:r>
              <a:r>
                <a:rPr kumimoji="0" lang="en-US" sz="66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w</a:t>
              </a: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)</a:t>
              </a:r>
              <a:r>
                <a:rPr kumimoji="0" lang="en-US" sz="3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Cambria Math" panose="02040503050406030204" pitchFamily="18" charset="0"/>
                  <a:cs typeface="+mn-cs"/>
                </a:rPr>
                <a:t>+</a:t>
              </a:r>
              <a:r>
                <a:rPr kumimoji="0" lang="en-US" sz="6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ell MT" panose="02020503060305020303" pitchFamily="18" charset="0"/>
                  <a:ea typeface="Cambria Math" panose="02040503050406030204" pitchFamily="18" charset="0"/>
                  <a:cs typeface="+mn-cs"/>
                </a:rPr>
                <a:t>b</a:t>
              </a:r>
              <a:endPara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E5E29DA-C52E-4C41-B1AC-9EB93CA156AA}"/>
              </a:ext>
            </a:extLst>
          </p:cNvPr>
          <p:cNvGrpSpPr/>
          <p:nvPr/>
        </p:nvGrpSpPr>
        <p:grpSpPr>
          <a:xfrm>
            <a:off x="5179502" y="3629040"/>
            <a:ext cx="4733546" cy="1769715"/>
            <a:chOff x="5046235" y="3337727"/>
            <a:chExt cx="4733546" cy="1769715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8AD45B-4D01-4D70-ACF1-2FB3AE8E5AFF}"/>
                </a:ext>
              </a:extLst>
            </p:cNvPr>
            <p:cNvSpPr txBox="1"/>
            <p:nvPr/>
          </p:nvSpPr>
          <p:spPr>
            <a:xfrm rot="384660">
              <a:off x="5046235" y="3381983"/>
              <a:ext cx="293298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0" i="1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9B6508F-829E-483E-A752-C503E3A91D68}"/>
                </a:ext>
              </a:extLst>
            </p:cNvPr>
            <p:cNvSpPr txBox="1"/>
            <p:nvPr/>
          </p:nvSpPr>
          <p:spPr>
            <a:xfrm>
              <a:off x="5656857" y="3337727"/>
              <a:ext cx="4122924" cy="17697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5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1A1A1A"/>
                      </a:gs>
                      <a:gs pos="30000">
                        <a:srgbClr val="1A1A1A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(        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137510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0" grpId="0" animBg="1"/>
      <p:bldP spid="11" grpId="0" animBg="1"/>
      <p:bldP spid="9" grpId="0" animBg="1"/>
      <p:bldP spid="12" grpId="0"/>
      <p:bldP spid="12" grpId="1"/>
      <p:bldP spid="14" grpId="0"/>
      <p:bldP spid="15" grpId="0"/>
      <p:bldP spid="16" grpId="0"/>
      <p:bldP spid="17" grpId="0"/>
      <p:bldP spid="19" grpId="0"/>
      <p:bldP spid="20" grpId="0" animBg="1"/>
      <p:bldP spid="21" grpId="0"/>
      <p:bldP spid="22" grpId="0"/>
      <p:bldP spid="22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23D0FF93-5C42-46FE-B81F-2EF87A81E37D}"/>
              </a:ext>
            </a:extLst>
          </p:cNvPr>
          <p:cNvGrpSpPr/>
          <p:nvPr/>
        </p:nvGrpSpPr>
        <p:grpSpPr>
          <a:xfrm>
            <a:off x="4466898" y="1975944"/>
            <a:ext cx="1755227" cy="2777359"/>
            <a:chOff x="4466898" y="1975944"/>
            <a:chExt cx="1755227" cy="2777359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C50213A-D578-402E-B7E5-E0F24216C905}"/>
                </a:ext>
              </a:extLst>
            </p:cNvPr>
            <p:cNvCxnSpPr>
              <a:cxnSpLocks/>
              <a:stCxn id="2" idx="6"/>
              <a:endCxn id="14" idx="2"/>
            </p:cNvCxnSpPr>
            <p:nvPr/>
          </p:nvCxnSpPr>
          <p:spPr>
            <a:xfrm>
              <a:off x="4466898" y="1975944"/>
              <a:ext cx="1744716" cy="5123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7E7231D-955A-42E0-A8B1-2F509592E892}"/>
                </a:ext>
              </a:extLst>
            </p:cNvPr>
            <p:cNvCxnSpPr>
              <a:cxnSpLocks/>
              <a:stCxn id="2" idx="6"/>
              <a:endCxn id="15" idx="2"/>
            </p:cNvCxnSpPr>
            <p:nvPr/>
          </p:nvCxnSpPr>
          <p:spPr>
            <a:xfrm>
              <a:off x="4466898" y="1975944"/>
              <a:ext cx="1755227" cy="13505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9E8C49BD-30FF-4DFD-9B41-F1F783275704}"/>
                </a:ext>
              </a:extLst>
            </p:cNvPr>
            <p:cNvCxnSpPr>
              <a:cxnSpLocks/>
              <a:stCxn id="2" idx="6"/>
              <a:endCxn id="16" idx="2"/>
            </p:cNvCxnSpPr>
            <p:nvPr/>
          </p:nvCxnSpPr>
          <p:spPr>
            <a:xfrm>
              <a:off x="4466898" y="1975944"/>
              <a:ext cx="1755227" cy="2199292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6413AA7B-CB95-4C17-83C1-5CF79CF4ACD1}"/>
                </a:ext>
              </a:extLst>
            </p:cNvPr>
            <p:cNvCxnSpPr>
              <a:cxnSpLocks/>
              <a:stCxn id="3" idx="6"/>
              <a:endCxn id="14" idx="2"/>
            </p:cNvCxnSpPr>
            <p:nvPr/>
          </p:nvCxnSpPr>
          <p:spPr>
            <a:xfrm flipV="1">
              <a:off x="4477409" y="2488323"/>
              <a:ext cx="1734205" cy="428296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0FF23E65-07D9-4D01-A6FC-548F068E43FC}"/>
                </a:ext>
              </a:extLst>
            </p:cNvPr>
            <p:cNvCxnSpPr>
              <a:cxnSpLocks/>
              <a:stCxn id="3" idx="6"/>
              <a:endCxn id="15" idx="2"/>
            </p:cNvCxnSpPr>
            <p:nvPr/>
          </p:nvCxnSpPr>
          <p:spPr>
            <a:xfrm>
              <a:off x="4477409" y="2916619"/>
              <a:ext cx="1744716" cy="4099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80DE3C8A-8CCC-4919-A880-4ACDD90C8598}"/>
                </a:ext>
              </a:extLst>
            </p:cNvPr>
            <p:cNvCxnSpPr>
              <a:cxnSpLocks/>
              <a:stCxn id="3" idx="6"/>
              <a:endCxn id="16" idx="2"/>
            </p:cNvCxnSpPr>
            <p:nvPr/>
          </p:nvCxnSpPr>
          <p:spPr>
            <a:xfrm>
              <a:off x="4477409" y="2916619"/>
              <a:ext cx="1744716" cy="125861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62EF05AF-3E5B-4343-8B5E-0EFF9157C0BD}"/>
                </a:ext>
              </a:extLst>
            </p:cNvPr>
            <p:cNvCxnSpPr>
              <a:cxnSpLocks/>
              <a:stCxn id="4" idx="6"/>
            </p:cNvCxnSpPr>
            <p:nvPr/>
          </p:nvCxnSpPr>
          <p:spPr>
            <a:xfrm>
              <a:off x="4466898" y="3812628"/>
              <a:ext cx="1744717" cy="28640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AF31F0FA-276D-4FDF-94D5-02DB4E447FCE}"/>
                </a:ext>
              </a:extLst>
            </p:cNvPr>
            <p:cNvCxnSpPr>
              <a:cxnSpLocks/>
              <a:stCxn id="4" idx="6"/>
              <a:endCxn id="15" idx="2"/>
            </p:cNvCxnSpPr>
            <p:nvPr/>
          </p:nvCxnSpPr>
          <p:spPr>
            <a:xfrm flipV="1">
              <a:off x="4466898" y="3326524"/>
              <a:ext cx="1755227" cy="486104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275ADE1B-E89E-4E8D-A7D6-47C66D145C98}"/>
                </a:ext>
              </a:extLst>
            </p:cNvPr>
            <p:cNvCxnSpPr>
              <a:cxnSpLocks/>
              <a:stCxn id="4" idx="6"/>
              <a:endCxn id="14" idx="2"/>
            </p:cNvCxnSpPr>
            <p:nvPr/>
          </p:nvCxnSpPr>
          <p:spPr>
            <a:xfrm flipV="1">
              <a:off x="4466898" y="2488323"/>
              <a:ext cx="1744716" cy="132430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73AE435-A45E-43B4-88E4-B9072FCA0060}"/>
                </a:ext>
              </a:extLst>
            </p:cNvPr>
            <p:cNvCxnSpPr>
              <a:cxnSpLocks/>
              <a:stCxn id="5" idx="6"/>
              <a:endCxn id="14" idx="2"/>
            </p:cNvCxnSpPr>
            <p:nvPr/>
          </p:nvCxnSpPr>
          <p:spPr>
            <a:xfrm flipV="1">
              <a:off x="4477408" y="2488323"/>
              <a:ext cx="1734206" cy="226498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ADDF3BD-5EC8-46A3-B2DE-4938F09DD553}"/>
                </a:ext>
              </a:extLst>
            </p:cNvPr>
            <p:cNvCxnSpPr>
              <a:cxnSpLocks/>
              <a:stCxn id="5" idx="6"/>
              <a:endCxn id="15" idx="2"/>
            </p:cNvCxnSpPr>
            <p:nvPr/>
          </p:nvCxnSpPr>
          <p:spPr>
            <a:xfrm flipV="1">
              <a:off x="4477408" y="3326524"/>
              <a:ext cx="1744717" cy="1426779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D30E895-AAAD-4DE1-9E2F-88898B3FB63A}"/>
                </a:ext>
              </a:extLst>
            </p:cNvPr>
            <p:cNvCxnSpPr>
              <a:cxnSpLocks/>
              <a:stCxn id="5" idx="6"/>
              <a:endCxn id="16" idx="2"/>
            </p:cNvCxnSpPr>
            <p:nvPr/>
          </p:nvCxnSpPr>
          <p:spPr>
            <a:xfrm flipV="1">
              <a:off x="4477408" y="4175236"/>
              <a:ext cx="1744717" cy="578067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881D7A-93A1-4DC7-9943-A067EFD2C84C}"/>
              </a:ext>
            </a:extLst>
          </p:cNvPr>
          <p:cNvGrpSpPr/>
          <p:nvPr/>
        </p:nvGrpSpPr>
        <p:grpSpPr>
          <a:xfrm>
            <a:off x="6978870" y="2472558"/>
            <a:ext cx="430923" cy="1702678"/>
            <a:chOff x="6978870" y="2472558"/>
            <a:chExt cx="430923" cy="1702678"/>
          </a:xfrm>
        </p:grpSpPr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87620F-9B7E-4881-AFC9-A5C2141743EB}"/>
                </a:ext>
              </a:extLst>
            </p:cNvPr>
            <p:cNvCxnSpPr>
              <a:cxnSpLocks/>
              <a:stCxn id="14" idx="6"/>
            </p:cNvCxnSpPr>
            <p:nvPr/>
          </p:nvCxnSpPr>
          <p:spPr>
            <a:xfrm flipV="1">
              <a:off x="6978870" y="2472558"/>
              <a:ext cx="362605" cy="15765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5BE50B34-A343-4F9A-93DB-E8D8D400FE56}"/>
                </a:ext>
              </a:extLst>
            </p:cNvPr>
            <p:cNvCxnSpPr>
              <a:cxnSpLocks/>
              <a:stCxn id="15" idx="6"/>
            </p:cNvCxnSpPr>
            <p:nvPr/>
          </p:nvCxnSpPr>
          <p:spPr>
            <a:xfrm>
              <a:off x="6989381" y="3326524"/>
              <a:ext cx="352094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3501160-535C-4518-BD88-BC8BC6FDAEC7}"/>
                </a:ext>
              </a:extLst>
            </p:cNvPr>
            <p:cNvCxnSpPr>
              <a:cxnSpLocks/>
              <a:stCxn id="16" idx="6"/>
            </p:cNvCxnSpPr>
            <p:nvPr/>
          </p:nvCxnSpPr>
          <p:spPr>
            <a:xfrm flipV="1">
              <a:off x="6989381" y="4164725"/>
              <a:ext cx="420412" cy="10511"/>
            </a:xfrm>
            <a:prstGeom prst="straightConnector1">
              <a:avLst/>
            </a:prstGeom>
            <a:ln w="57150">
              <a:solidFill>
                <a:schemeClr val="accent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9F8CB45-C706-4A9D-B1F9-B65D8B38401C}"/>
              </a:ext>
            </a:extLst>
          </p:cNvPr>
          <p:cNvGrpSpPr/>
          <p:nvPr/>
        </p:nvGrpSpPr>
        <p:grpSpPr>
          <a:xfrm>
            <a:off x="2607992" y="1430614"/>
            <a:ext cx="921082" cy="3996769"/>
            <a:chOff x="2607992" y="1430614"/>
            <a:chExt cx="921082" cy="399676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DB4381E-DF59-4F4C-ACD0-816960ED0A74}"/>
                </a:ext>
              </a:extLst>
            </p:cNvPr>
            <p:cNvSpPr/>
            <p:nvPr/>
          </p:nvSpPr>
          <p:spPr>
            <a:xfrm>
              <a:off x="2613248" y="1505396"/>
              <a:ext cx="849913" cy="3847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6.6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.2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5.8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2.4</a:t>
              </a:r>
            </a:p>
          </p:txBody>
        </p:sp>
        <p:sp>
          <p:nvSpPr>
            <p:cNvPr id="118" name="Double Bracket 117">
              <a:extLst>
                <a:ext uri="{FF2B5EF4-FFF2-40B4-BE49-F238E27FC236}">
                  <a16:creationId xmlns:a16="http://schemas.microsoft.com/office/drawing/2014/main" id="{10541583-0633-443B-A72F-E4C5D05D6E19}"/>
                </a:ext>
              </a:extLst>
            </p:cNvPr>
            <p:cNvSpPr/>
            <p:nvPr/>
          </p:nvSpPr>
          <p:spPr>
            <a:xfrm>
              <a:off x="2607992" y="1430614"/>
              <a:ext cx="921082" cy="3996769"/>
            </a:xfrm>
            <a:prstGeom prst="bracketPair">
              <a:avLst>
                <a:gd name="adj" fmla="val 11532"/>
              </a:avLst>
            </a:prstGeom>
            <a:ln w="3810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76529AB-A3ED-4FF3-8628-89240DF805E9}"/>
              </a:ext>
            </a:extLst>
          </p:cNvPr>
          <p:cNvSpPr txBox="1"/>
          <p:nvPr/>
        </p:nvSpPr>
        <p:spPr>
          <a:xfrm>
            <a:off x="7458477" y="2195559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1797D0-DC57-446B-B25B-124BD2775A19}"/>
              </a:ext>
            </a:extLst>
          </p:cNvPr>
          <p:cNvSpPr txBox="1"/>
          <p:nvPr/>
        </p:nvSpPr>
        <p:spPr>
          <a:xfrm>
            <a:off x="7458478" y="3049525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D1991DE-672C-4D50-B58D-459E2C8AC9C4}"/>
              </a:ext>
            </a:extLst>
          </p:cNvPr>
          <p:cNvSpPr txBox="1"/>
          <p:nvPr/>
        </p:nvSpPr>
        <p:spPr>
          <a:xfrm>
            <a:off x="7458478" y="3887726"/>
            <a:ext cx="5963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92C7E9-41C0-4F29-BE84-3030F0221671}"/>
              </a:ext>
            </a:extLst>
          </p:cNvPr>
          <p:cNvSpPr txBox="1"/>
          <p:nvPr/>
        </p:nvSpPr>
        <p:spPr>
          <a:xfrm>
            <a:off x="8331313" y="3009680"/>
            <a:ext cx="304410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= 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0.3, 0.4, 0.3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C89CA88-6ADD-4445-B270-595B20B937CD}"/>
              </a:ext>
            </a:extLst>
          </p:cNvPr>
          <p:cNvSpPr txBox="1"/>
          <p:nvPr/>
        </p:nvSpPr>
        <p:spPr>
          <a:xfrm>
            <a:off x="8823435" y="3660925"/>
            <a:ext cx="255198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.0, 1.0, 0.0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]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01D0BC-C34F-4C27-ADA7-1FE9D20C07EE}"/>
              </a:ext>
            </a:extLst>
          </p:cNvPr>
          <p:cNvSpPr txBox="1"/>
          <p:nvPr/>
        </p:nvSpPr>
        <p:spPr>
          <a:xfrm>
            <a:off x="7199587" y="4941410"/>
            <a:ext cx="440184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</a:t>
            </a: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μ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0.3, 0.6, 0.3)</a:t>
            </a:r>
            <a:r>
              <a:rPr kumimoji="0" lang="en-US" sz="3600" b="0" i="0" u="none" strike="noStrike" kern="1200" cap="none" spc="0" normalizeH="0" baseline="3000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C098E-AE2B-4BF7-A1F9-D239CB32C76E}"/>
              </a:ext>
            </a:extLst>
          </p:cNvPr>
          <p:cNvSpPr txBox="1"/>
          <p:nvPr/>
        </p:nvSpPr>
        <p:spPr>
          <a:xfrm>
            <a:off x="7199587" y="4940662"/>
            <a:ext cx="229389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ss = 0.16</a:t>
            </a:r>
            <a:endParaRPr kumimoji="0" lang="en-US" sz="3600" b="0" i="0" u="none" strike="noStrike" kern="1200" cap="none" spc="0" normalizeH="0" baseline="3000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46BD056-0766-499B-AE1D-8658BB111295}"/>
              </a:ext>
            </a:extLst>
          </p:cNvPr>
          <p:cNvGrpSpPr/>
          <p:nvPr/>
        </p:nvGrpSpPr>
        <p:grpSpPr>
          <a:xfrm>
            <a:off x="3699642" y="1592316"/>
            <a:ext cx="793470" cy="3544615"/>
            <a:chOff x="3699642" y="1592316"/>
            <a:chExt cx="793470" cy="354461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4D6F81A-0D65-495C-AF85-8CD465E62844}"/>
                </a:ext>
              </a:extLst>
            </p:cNvPr>
            <p:cNvSpPr/>
            <p:nvPr/>
          </p:nvSpPr>
          <p:spPr bwMode="auto">
            <a:xfrm>
              <a:off x="3699642" y="1592316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745CF4F1-F6B7-46DA-BEB4-E8D3ECFAB3E3}"/>
                </a:ext>
              </a:extLst>
            </p:cNvPr>
            <p:cNvSpPr/>
            <p:nvPr/>
          </p:nvSpPr>
          <p:spPr bwMode="auto">
            <a:xfrm>
              <a:off x="3710153" y="2532991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70D0C98-44F6-46EC-BFD8-2F32FF9A3526}"/>
                </a:ext>
              </a:extLst>
            </p:cNvPr>
            <p:cNvSpPr/>
            <p:nvPr/>
          </p:nvSpPr>
          <p:spPr bwMode="auto">
            <a:xfrm>
              <a:off x="3699642" y="3429000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2E72C10-C0BF-45AB-A715-14229AD99EF7}"/>
                </a:ext>
              </a:extLst>
            </p:cNvPr>
            <p:cNvSpPr/>
            <p:nvPr/>
          </p:nvSpPr>
          <p:spPr bwMode="auto">
            <a:xfrm>
              <a:off x="3710152" y="436967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3FEF045-DCCE-43F2-8B2C-A5E0CE4F851F}"/>
                </a:ext>
              </a:extLst>
            </p:cNvPr>
            <p:cNvSpPr txBox="1"/>
            <p:nvPr/>
          </p:nvSpPr>
          <p:spPr>
            <a:xfrm>
              <a:off x="3710281" y="1868222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BE4C8F9-5AB3-4211-8C1D-B71A7636DEEC}"/>
                </a:ext>
              </a:extLst>
            </p:cNvPr>
            <p:cNvSpPr txBox="1"/>
            <p:nvPr/>
          </p:nvSpPr>
          <p:spPr>
            <a:xfrm>
              <a:off x="3736495" y="2777373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ACD602A-6075-4736-AB18-548B4F084770}"/>
                </a:ext>
              </a:extLst>
            </p:cNvPr>
            <p:cNvSpPr txBox="1"/>
            <p:nvPr/>
          </p:nvSpPr>
          <p:spPr>
            <a:xfrm>
              <a:off x="3736434" y="368652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A305AE8-0B62-404D-9EEE-B098BAB8CEF5}"/>
                </a:ext>
              </a:extLst>
            </p:cNvPr>
            <p:cNvSpPr txBox="1"/>
            <p:nvPr/>
          </p:nvSpPr>
          <p:spPr>
            <a:xfrm>
              <a:off x="3710098" y="460618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A915EE-AC2A-4491-B258-F696BF1D1BA5}"/>
              </a:ext>
            </a:extLst>
          </p:cNvPr>
          <p:cNvGrpSpPr/>
          <p:nvPr/>
        </p:nvGrpSpPr>
        <p:grpSpPr>
          <a:xfrm>
            <a:off x="6211614" y="2104695"/>
            <a:ext cx="788345" cy="2454169"/>
            <a:chOff x="6211614" y="2104695"/>
            <a:chExt cx="788345" cy="245416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AB187F6-EDC8-4346-9FB9-EDB01598A784}"/>
                </a:ext>
              </a:extLst>
            </p:cNvPr>
            <p:cNvSpPr/>
            <p:nvPr/>
          </p:nvSpPr>
          <p:spPr bwMode="auto">
            <a:xfrm>
              <a:off x="6211614" y="2104695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ED911FB-571B-4AD6-808B-7A0388D61EC9}"/>
                </a:ext>
              </a:extLst>
            </p:cNvPr>
            <p:cNvSpPr/>
            <p:nvPr/>
          </p:nvSpPr>
          <p:spPr bwMode="auto">
            <a:xfrm>
              <a:off x="6222125" y="2942896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3EFFFE-B846-46BF-9F90-3DF1CDED233F}"/>
                </a:ext>
              </a:extLst>
            </p:cNvPr>
            <p:cNvSpPr/>
            <p:nvPr/>
          </p:nvSpPr>
          <p:spPr bwMode="auto">
            <a:xfrm>
              <a:off x="6222125" y="3791608"/>
              <a:ext cx="767256" cy="767256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3FEFD5-3960-4367-A014-4D5EDFFBE822}"/>
                </a:ext>
              </a:extLst>
            </p:cNvPr>
            <p:cNvSpPr txBox="1"/>
            <p:nvPr/>
          </p:nvSpPr>
          <p:spPr>
            <a:xfrm>
              <a:off x="6216933" y="2352841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C746EED-7F75-4279-BDBC-404524CD26D4}"/>
                </a:ext>
              </a:extLst>
            </p:cNvPr>
            <p:cNvSpPr txBox="1"/>
            <p:nvPr/>
          </p:nvSpPr>
          <p:spPr>
            <a:xfrm>
              <a:off x="6243275" y="3192525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2148B10-44D9-4D6D-BC36-C6612AFF7BFC}"/>
                </a:ext>
              </a:extLst>
            </p:cNvPr>
            <p:cNvSpPr txBox="1"/>
            <p:nvPr/>
          </p:nvSpPr>
          <p:spPr>
            <a:xfrm>
              <a:off x="6243342" y="4047974"/>
              <a:ext cx="7566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∫∑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xw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+b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956ABA3C-B3DA-4396-B105-982E9F3F1892}"/>
              </a:ext>
            </a:extLst>
          </p:cNvPr>
          <p:cNvSpPr txBox="1"/>
          <p:nvPr/>
        </p:nvSpPr>
        <p:spPr>
          <a:xfrm>
            <a:off x="2753132" y="53177"/>
            <a:ext cx="5831533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Neural Network (Perceptron)</a:t>
            </a:r>
          </a:p>
        </p:txBody>
      </p:sp>
    </p:spTree>
    <p:extLst>
      <p:ext uri="{BB962C8B-B14F-4D97-AF65-F5344CB8AC3E}">
        <p14:creationId xmlns:p14="http://schemas.microsoft.com/office/powerpoint/2010/main" val="3846797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7" grpId="0"/>
      <p:bldP spid="28" grpId="0"/>
      <p:bldP spid="29" grpId="0"/>
      <p:bldP spid="30" grpId="0"/>
      <p:bldP spid="31" grpId="0"/>
      <p:bldP spid="31" grpId="1"/>
      <p:bldP spid="32" grpId="0"/>
      <p:bldP spid="4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-51027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Template_v04.potx" id="{ADFE0B3B-3E8D-4D1C-A966-C43B5E8793C8}" vid="{758F5799-09F9-4110-97F9-4D6AD89F1CB9}"/>
    </a:ext>
  </a:extLst>
</a:theme>
</file>

<file path=ppt/theme/theme2.xml><?xml version="1.0" encoding="utf-8"?>
<a:theme xmlns:a="http://schemas.openxmlformats.org/drawingml/2006/main" name="Azure PPT Template - 2018">
  <a:themeElements>
    <a:clrScheme name="Azure">
      <a:dk1>
        <a:srgbClr val="000000"/>
      </a:dk1>
      <a:lt1>
        <a:srgbClr val="FFFFFF"/>
      </a:lt1>
      <a:dk2>
        <a:srgbClr val="0078D7"/>
      </a:dk2>
      <a:lt2>
        <a:srgbClr val="FFFFFF"/>
      </a:lt2>
      <a:accent1>
        <a:srgbClr val="E6E6E6"/>
      </a:accent1>
      <a:accent2>
        <a:srgbClr val="D2D2D2"/>
      </a:accent2>
      <a:accent3>
        <a:srgbClr val="737373"/>
      </a:accent3>
      <a:accent4>
        <a:srgbClr val="505050"/>
      </a:accent4>
      <a:accent5>
        <a:srgbClr val="BAD80A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PT Template 2018 presentation_v3" id="{1968021E-D85B-4A85-BB07-6BF24CCBC27F}" vid="{6E53F19A-D2E9-48F2-9B61-183D930FD7C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606EF5350B4AC34299E527B9221D6B5E001A2DF7EB5935C14F830206357EC2322C" ma:contentTypeVersion="30" ma:contentTypeDescription="" ma:contentTypeScope="" ma:versionID="89a236a14fe01b50fc9ce03f4d73a391">
  <xsd:schema xmlns:xsd="http://www.w3.org/2001/XMLSchema" xmlns:xs="http://www.w3.org/2001/XMLSchema" xmlns:p="http://schemas.microsoft.com/office/2006/metadata/properties" xmlns:ns1="http://schemas.microsoft.com/sharepoint/v3" xmlns:ns2="5a4b3278-325d-441a-b38f-6f1926bc734e" xmlns:ns3="230e9df3-be65-4c73-a93b-d1236ebd677e" xmlns:ns5="9d1f81f6-e953-47ea-988e-33ed651c58e6" targetNamespace="http://schemas.microsoft.com/office/2006/metadata/properties" ma:root="true" ma:fieldsID="5d0402a6412bf30be66bcd261b52ef91" ns1:_="" ns2:_="" ns3:_="" ns5:_="">
    <xsd:import namespace="http://schemas.microsoft.com/sharepoint/v3"/>
    <xsd:import namespace="5a4b3278-325d-441a-b38f-6f1926bc734e"/>
    <xsd:import namespace="230e9df3-be65-4c73-a93b-d1236ebd677e"/>
    <xsd:import namespace="9d1f81f6-e953-47ea-988e-33ed651c58e6"/>
    <xsd:element name="properties">
      <xsd:complexType>
        <xsd:sequence>
          <xsd:element name="documentManagement">
            <xsd:complexType>
              <xsd:all>
                <xsd:element ref="ns2:o33121adfc264c7dbcad13be7db3ea4b" minOccurs="0"/>
                <xsd:element ref="ns3:TaxCatchAll" minOccurs="0"/>
                <xsd:element ref="ns3:TaxCatchAllLabel" minOccurs="0"/>
                <xsd:element ref="ns2:c4b02e5b2c48420dbed84c0f2f02e9a3" minOccurs="0"/>
                <xsd:element ref="ns2:ba5aa7e3a41a404e868a451481761228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j129f3114929433a812312450a84994c" minOccurs="0"/>
                <xsd:element ref="ns2:e1750f71052543bd8c4d7217e9f56da0" minOccurs="0"/>
                <xsd:element ref="ns2:Session_x0020_Code" minOccurs="0"/>
                <xsd:element ref="ns2:MS_x0020_Content_x0020_Owner" minOccurs="0"/>
                <xsd:element ref="ns2:j478fa01fff54a9d85f93cc1f742caa8" minOccurs="0"/>
                <xsd:element ref="ns2:n26c0b7259a14f82a9880173edc4cb73" minOccurs="0"/>
                <xsd:element ref="ns1:AverageRating" minOccurs="0"/>
                <xsd:element ref="ns1:RatingCount" minOccurs="0"/>
                <xsd:element ref="ns1:LikesCount" minOccurs="0"/>
                <xsd:element ref="ns3:TaxKeywordTaxHTField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3" nillable="true" ma:displayName="Number of Likes" ma:internalName="LikesCount">
      <xsd:simpleType>
        <xsd:restriction base="dms:Unknown"/>
      </xsd:simpleType>
    </xsd:element>
    <xsd:element name="_ip_UnifiedCompliancePolicyProperties" ma:index="4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4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4b3278-325d-441a-b38f-6f1926bc734e" elementFormDefault="qualified">
    <xsd:import namespace="http://schemas.microsoft.com/office/2006/documentManagement/types"/>
    <xsd:import namespace="http://schemas.microsoft.com/office/infopath/2007/PartnerControls"/>
    <xsd:element name="o33121adfc264c7dbcad13be7db3ea4b" ma:index="8" nillable="true" ma:taxonomy="true" ma:internalName="o33121adfc264c7dbcad13be7db3ea4b" ma:taxonomyFieldName="Event_x0020_Name" ma:displayName="Event Name" ma:default="" ma:fieldId="{833121ad-fc26-4c7d-bcad-13be7db3ea4b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c4b02e5b2c48420dbed84c0f2f02e9a3" ma:index="12" nillable="true" ma:taxonomy="true" ma:internalName="c4b02e5b2c48420dbed84c0f2f02e9a3" ma:taxonomyFieldName="Event_x0020_Location" ma:displayName="Event Location" ma:default="" ma:fieldId="{c4b02e5b-2c48-420d-bed8-4c0f2f02e9a3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5aa7e3a41a404e868a451481761228" ma:index="14" nillable="true" ma:taxonomy="true" ma:internalName="ba5aa7e3a41a404e868a451481761228" ma:taxonomyFieldName="Event_x0020_Venue" ma:displayName="Event Venue" ma:default="" ma:fieldId="{ba5aa7e3-a41a-404e-868a-451481761228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j129f3114929433a812312450a84994c" ma:index="21" nillable="true" ma:taxonomy="true" ma:internalName="j129f3114929433a812312450a84994c" ma:taxonomyFieldName="Product" ma:displayName="Product" ma:default="" ma:fieldId="{3129f311-4929-433a-8123-12450a84994c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750f71052543bd8c4d7217e9f56da0" ma:index="23" nillable="true" ma:taxonomy="true" ma:internalName="e1750f71052543bd8c4d7217e9f56da0" ma:taxonomyFieldName="Campaign" ma:displayName="Campaign" ma:default="" ma:fieldId="{e1750f71-0525-43bd-8c4d-7217e9f56da0}" ma:taxonomyMulti="true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j478fa01fff54a9d85f93cc1f742caa8" ma:index="27" nillable="true" ma:taxonomy="true" ma:internalName="j478fa01fff54a9d85f93cc1f742caa8" ma:taxonomyFieldName="Track" ma:displayName="Track" ma:default="" ma:fieldId="{3478fa01-fff5-4a9d-85f9-3cc1f742caa8}" ma:sspId="e385fb40-52d4-4fae-9c5b-3e8ff8a5878e" ma:termSetId="3d852f0a-ed69-4ada-86bc-dbe628c826a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26c0b7259a14f82a9880173edc4cb73" ma:index="29" nillable="true" ma:taxonomy="true" ma:internalName="n26c0b7259a14f82a9880173edc4cb73" ma:taxonomyFieldName="Audience1" ma:displayName="Audience" ma:default="" ma:fieldId="{726c0b72-59a1-4f82-a988-0173edc4cb73}" ma:taxonomyMulti="true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39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40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8a521885-91de-4219-9471-899125a19f6f}" ma:internalName="TaxCatchAll" ma:showField="CatchAllData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8a521885-91de-4219-9471-899125a19f6f}" ma:internalName="TaxCatchAllLabel" ma:readOnly="true" ma:showField="CatchAllDataLabel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5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f81f6-e953-47ea-988e-33ed651c58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4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4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ternal_x0020_Speaker xmlns="5a4b3278-325d-441a-b38f-6f1926bc734e">Malcolm Graeme</External_x0020_Speaker>
    <j478fa01fff54a9d85f93cc1f742caa8 xmlns="5a4b3278-325d-441a-b38f-6f1926bc734e">
      <Terms xmlns="http://schemas.microsoft.com/office/infopath/2007/PartnerControls"/>
    </j478fa01fff54a9d85f93cc1f742caa8>
    <Event_x0020_End_x0020_Date xmlns="5a4b3278-325d-441a-b38f-6f1926bc734e">2019-02-16T08:00:00+00:00</Event_x0020_End_x0020_Date>
    <LikesCount xmlns="http://schemas.microsoft.com/sharepoint/v3" xsi:nil="true"/>
    <MS_x0020_Speaker xmlns="5a4b3278-325d-441a-b38f-6f1926bc734e">
      <UserInfo>
        <DisplayName/>
        <AccountId xsi:nil="true"/>
        <AccountType/>
      </UserInfo>
    </MS_x0020_Speaker>
    <o33121adfc264c7dbcad13be7db3ea4b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ady</TermName>
          <TermId xmlns="http://schemas.microsoft.com/office/infopath/2007/PartnerControls">3ca26e5f-dc1b-4496-bbb3-9dc6901a235f</TermId>
        </TermInfo>
      </Terms>
    </o33121adfc264c7dbcad13be7db3ea4b>
    <Session_x0020_Code xmlns="5a4b3278-325d-441a-b38f-6f1926bc734e">DA-AAAI-TS318</Session_x0020_Code>
    <Presentation_x0020_Date xmlns="5a4b3278-325d-441a-b38f-6f1926bc734e" xsi:nil="true"/>
    <ba5aa7e3a41a404e868a451481761228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Washington State Convention Center</TermName>
          <TermId xmlns="http://schemas.microsoft.com/office/infopath/2007/PartnerControls">2ebf141d-f871-4cc9-bf08-f87f112ab464</TermId>
        </TermInfo>
      </Terms>
    </ba5aa7e3a41a404e868a451481761228>
    <n26c0b7259a14f82a9880173edc4cb73 xmlns="5a4b3278-325d-441a-b38f-6f1926bc734e">
      <Terms xmlns="http://schemas.microsoft.com/office/infopath/2007/PartnerControls"/>
    </n26c0b7259a14f82a9880173edc4cb73>
    <c4b02e5b2c48420dbed84c0f2f02e9a3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eattle</TermName>
          <TermId xmlns="http://schemas.microsoft.com/office/infopath/2007/PartnerControls">54f46ed2-c77e-4a59-b182-a4171fdb0d11</TermId>
        </TermInfo>
      </Terms>
    </c4b02e5b2c48420dbed84c0f2f02e9a3>
    <Event_x0020_Start_x0020_Date xmlns="5a4b3278-325d-441a-b38f-6f1926bc734e">2019-02-09T08:00:00+00:00</Event_x0020_Start_x0020_Date>
    <MS_x0020_Content_x0020_Owner xmlns="5a4b3278-325d-441a-b38f-6f1926bc734e">
      <UserInfo>
        <DisplayName/>
        <AccountId xsi:nil="true"/>
        <AccountType/>
      </UserInfo>
    </MS_x0020_Content_x0020_Owner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Ready</TermName>
          <TermId xmlns="http://schemas.microsoft.com/office/infopath/2007/PartnerControls">3ca26e5f-dc1b-4496-bbb3-9dc6901a235f</TermId>
        </TermInfo>
      </Terms>
    </TaxKeywordTaxHTField>
    <j129f3114929433a812312450a84994c xmlns="5a4b3278-325d-441a-b38f-6f1926bc734e">
      <Terms xmlns="http://schemas.microsoft.com/office/infopath/2007/PartnerControls"/>
    </j129f3114929433a812312450a84994c>
    <TaxCatchAll xmlns="230e9df3-be65-4c73-a93b-d1236ebd677e">
      <Value>20</Value>
      <Value>19</Value>
      <Value>16</Value>
      <Value>21</Value>
    </TaxCatchAll>
    <e1750f71052543bd8c4d7217e9f56da0 xmlns="5a4b3278-325d-441a-b38f-6f1926bc734e">
      <Terms xmlns="http://schemas.microsoft.com/office/infopath/2007/PartnerControls"/>
    </e1750f71052543bd8c4d7217e9f56da0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2A81593-B7B2-4F2D-B3F7-9BF91FDA44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a4b3278-325d-441a-b38f-6f1926bc734e"/>
    <ds:schemaRef ds:uri="230e9df3-be65-4c73-a93b-d1236ebd677e"/>
    <ds:schemaRef ds:uri="9d1f81f6-e953-47ea-988e-33ed651c58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5a4b3278-325d-441a-b38f-6f1926bc734e"/>
    <ds:schemaRef ds:uri="http://purl.org/dc/elements/1.1/"/>
    <ds:schemaRef ds:uri="http://schemas.microsoft.com/office/2006/metadata/properties"/>
    <ds:schemaRef ds:uri="230e9df3-be65-4c73-a93b-d1236ebd677e"/>
    <ds:schemaRef ds:uri="http://schemas.microsoft.com/sharepoint/v3"/>
    <ds:schemaRef ds:uri="http://purl.org/dc/terms/"/>
    <ds:schemaRef ds:uri="9d1f81f6-e953-47ea-988e-33ed651c58e6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Ready_Breakout_Template_v04</Template>
  <TotalTime>626</TotalTime>
  <Words>2302</Words>
  <Application>Microsoft Office PowerPoint</Application>
  <PresentationFormat>Widescreen</PresentationFormat>
  <Paragraphs>743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3" baseType="lpstr">
      <vt:lpstr>Arial</vt:lpstr>
      <vt:lpstr>Bell MT</vt:lpstr>
      <vt:lpstr>Calibri Light</vt:lpstr>
      <vt:lpstr>Cambria Math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9-51027_Microsoft_Ready_Template</vt:lpstr>
      <vt:lpstr>Azure PPT Template - 2018</vt:lpstr>
      <vt:lpstr>think-cell Slide</vt:lpstr>
      <vt:lpstr>OpenHack:  Deep Learning</vt:lpstr>
      <vt:lpstr>PowerPoint Presentation</vt:lpstr>
      <vt:lpstr>PowerPoint Presentation</vt:lpstr>
      <vt:lpstr>What will I learn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&lt;Comms manager name here&gt;</Manager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nds-On Machine Learning for Computer Vision</dc:title>
  <dc:subject>Microsoft Ready</dc:subject>
  <dc:creator>MS Events 1683</dc:creator>
  <cp:keywords>Microsoft Ready</cp:keywords>
  <dc:description/>
  <cp:lastModifiedBy>Dave Wentzel</cp:lastModifiedBy>
  <cp:revision>26</cp:revision>
  <dcterms:created xsi:type="dcterms:W3CDTF">2019-02-11T17:06:25Z</dcterms:created>
  <dcterms:modified xsi:type="dcterms:W3CDTF">2019-04-24T20:45:36Z</dcterms:modified>
  <cp:category>Microsoft Ready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6EF5350B4AC34299E527B9221D6B5E001A2DF7EB5935C14F830206357EC2322C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20;#Washington State Convention and Trade Center|2ebf141d-f871-4cc9-bf08-f87f112ab464</vt:lpwstr>
  </property>
  <property fmtid="{D5CDD505-2E9C-101B-9397-08002B2CF9AE}" pid="7" name="Track">
    <vt:lpwstr/>
  </property>
  <property fmtid="{D5CDD505-2E9C-101B-9397-08002B2CF9AE}" pid="8" name="Event Location">
    <vt:lpwstr>19;#Seattle|54f46ed2-c77e-4a59-b182-a4171fdb0d11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TaxKeyword">
    <vt:lpwstr>16;#Microsoft Ready|3ca26e5f-dc1b-4496-bbb3-9dc6901a235f</vt:lpwstr>
  </property>
  <property fmtid="{D5CDD505-2E9C-101B-9397-08002B2CF9AE}" pid="21" name="Event Name">
    <vt:lpwstr>21;#Microsoft Ready|3ca26e5f-dc1b-4496-bbb3-9dc6901a235f</vt:lpwstr>
  </property>
  <property fmtid="{D5CDD505-2E9C-101B-9397-08002B2CF9AE}" pid="22" name="Audience1">
    <vt:lpwstr/>
  </property>
</Properties>
</file>